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99" r:id="rId5"/>
  </p:sldMasterIdLst>
  <p:notesMasterIdLst>
    <p:notesMasterId r:id="rId17"/>
  </p:notesMasterIdLst>
  <p:handoutMasterIdLst>
    <p:handoutMasterId r:id="rId18"/>
  </p:handoutMasterIdLst>
  <p:sldIdLst>
    <p:sldId id="2998" r:id="rId6"/>
    <p:sldId id="2147483625" r:id="rId7"/>
    <p:sldId id="2147483609" r:id="rId8"/>
    <p:sldId id="2147483616" r:id="rId9"/>
    <p:sldId id="269" r:id="rId10"/>
    <p:sldId id="2147483620" r:id="rId11"/>
    <p:sldId id="2147483621" r:id="rId12"/>
    <p:sldId id="2147483622" r:id="rId13"/>
    <p:sldId id="2147483627" r:id="rId14"/>
    <p:sldId id="271" r:id="rId15"/>
    <p:sldId id="2147483626" r:id="rId16"/>
  </p:sldIdLst>
  <p:sldSz cx="12192000" cy="6858000"/>
  <p:notesSz cx="6858000" cy="9144000"/>
  <p:custDataLst>
    <p:tags r:id="rId19"/>
  </p:custDataLst>
  <p:defaultTextStyle>
    <a:defPPr>
      <a:defRPr lang="nl-be"/>
    </a:defPPr>
    <a:lvl1pPr marL="0" algn="l" defTabSz="914400" rtl="0" eaLnBrk="1" latinLnBrk="0" hangingPunct="1">
      <a:lnSpc>
        <a:spcPct val="110000"/>
      </a:lnSpc>
      <a:spcBef>
        <a:spcPts val="0"/>
      </a:spcBef>
      <a:spcAft>
        <a:spcPts val="600"/>
      </a:spcAft>
      <a:defRPr sz="18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lnSpc>
        <a:spcPct val="110000"/>
      </a:lnSpc>
      <a:spcBef>
        <a:spcPts val="0"/>
      </a:spcBef>
      <a:spcAft>
        <a:spcPts val="600"/>
      </a:spcAft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2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4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6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8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8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8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8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houdstafel" id="{966AA8FA-B062-4D37-9E5A-D99073D29DF5}">
          <p14:sldIdLst>
            <p14:sldId id="2998"/>
            <p14:sldId id="2147483625"/>
            <p14:sldId id="2147483609"/>
            <p14:sldId id="2147483616"/>
            <p14:sldId id="269"/>
            <p14:sldId id="2147483620"/>
            <p14:sldId id="2147483621"/>
            <p14:sldId id="2147483622"/>
            <p14:sldId id="2147483627"/>
            <p14:sldId id="271"/>
            <p14:sldId id="2147483626"/>
          </p14:sldIdLst>
        </p14:section>
      </p14:sectionLst>
    </p:ext>
    <p:ext uri="{EFAFB233-063F-42B5-8137-9DF3F51BA10A}">
      <p15:sldGuideLst xmlns:p15="http://schemas.microsoft.com/office/powerpoint/2012/main">
        <p15:guide id="3" pos="1844" userDrawn="1">
          <p15:clr>
            <a:srgbClr val="A4A3A4"/>
          </p15:clr>
        </p15:guide>
        <p15:guide id="4" pos="2116" userDrawn="1">
          <p15:clr>
            <a:srgbClr val="A4A3A4"/>
          </p15:clr>
        </p15:guide>
        <p15:guide id="6" pos="2706" userDrawn="1">
          <p15:clr>
            <a:srgbClr val="A4A3A4"/>
          </p15:clr>
        </p15:guide>
        <p15:guide id="7" pos="3704" userDrawn="1">
          <p15:clr>
            <a:srgbClr val="A4A3A4"/>
          </p15:clr>
        </p15:guide>
        <p15:guide id="8" pos="3976" userDrawn="1">
          <p15:clr>
            <a:srgbClr val="A4A3A4"/>
          </p15:clr>
        </p15:guide>
        <p15:guide id="10" pos="5133" userDrawn="1">
          <p15:clr>
            <a:srgbClr val="A4A3A4"/>
          </p15:clr>
        </p15:guide>
        <p15:guide id="11" pos="5564" userDrawn="1">
          <p15:clr>
            <a:srgbClr val="A4A3A4"/>
          </p15:clr>
        </p15:guide>
        <p15:guide id="12" pos="5836" userDrawn="1">
          <p15:clr>
            <a:srgbClr val="A4A3A4"/>
          </p15:clr>
        </p15:guide>
        <p15:guide id="13" orient="horz" pos="709" userDrawn="1">
          <p15:clr>
            <a:srgbClr val="A4A3A4"/>
          </p15:clr>
        </p15:guide>
        <p15:guide id="17" pos="4974" userDrawn="1">
          <p15:clr>
            <a:srgbClr val="A4A3A4"/>
          </p15:clr>
        </p15:guide>
        <p15:guide id="19" pos="2525" userDrawn="1">
          <p15:clr>
            <a:srgbClr val="A4A3A4"/>
          </p15:clr>
        </p15:guide>
        <p15:guide id="2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EF6FF06-0CAE-3DAD-78FF-A381145FF7FA}" name="Eli Ivens" initials="EI" userId="S::eli.ivens@iodigital.com::eda6e63a-acf1-4c1d-99f1-b9dcc9ac1ac9" providerId="AD"/>
  <p188:author id="{42106420-CEE1-58BC-48D0-9C091DABACD1}" name="Liesbeth Keuninckx" initials="LK" userId="S::liesbeth@loopearplugs.com::cf070f64-43de-4775-a836-7aa9c5e6e98d" providerId="AD"/>
  <p188:author id="{C7B3156B-FEB9-B604-7626-8216DF84CC4C}" name="Frank Cuypers" initials="FC" userId="S::frank.cuypers@iodigital.com::9c4128c8-3503-404b-9a19-6745237c7b83" providerId="AD"/>
  <p188:author id="{81C66573-66EE-E866-B88E-3055C648F924}" name="Tim Elsen" initials="" userId="S::tim.elsen@iodigital.com::475e8b8f-0302-4d62-a4ae-5475066032b6" providerId="AD"/>
  <p188:author id="{9C8A4F8D-2892-97C6-8CAA-CEE03EF71AEE}" name="Paulien Van Schil" initials="PS" userId="S::paulien.vanschil@iodigital.com::0ef63b3c-2c71-4e47-be7a-9f744dc47b2c" providerId="AD"/>
  <p188:author id="{9ECB1EA9-D5CA-439E-2F31-D46DCD5091F9}" name="Jonathan Danko" initials="JD" userId="S::jonathan.danko@iodigital.com::4d08845b-b19e-4375-82a7-a116af84cbfe" providerId="AD"/>
  <p188:author id="{60EE65BB-9E1B-1BC0-2EE3-D7191254F435}" name="Jan Schraeyen" initials="JS" userId="S::jan.schraeyen@iodigital.com::4f8ab0f2-def8-468f-8f41-250da14d0c1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ura Haink" initials="LH" lastIdx="20" clrIdx="0"/>
  <p:cmAuthor id="2" name="Timo Glosemeyer" initials="TG" lastIdx="37" clrIdx="1"/>
  <p:cmAuthor id="3" name="Anna Juettner" initials="AJ" lastIdx="2" clrIdx="2"/>
  <p:cmAuthor id="4" name="Cem Kadim" initials="CK" lastIdx="4" clrIdx="3">
    <p:extLst>
      <p:ext uri="{19B8F6BF-5375-455C-9EA6-DF929625EA0E}">
        <p15:presenceInfo xmlns:p15="http://schemas.microsoft.com/office/powerpoint/2012/main" userId="S-1-5-21-2900290652-3162160026-1438150922-17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A9"/>
    <a:srgbClr val="0169B6"/>
    <a:srgbClr val="000000"/>
    <a:srgbClr val="407C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FD467D-774C-CFD1-E072-F25B3BCA49B5}" v="1" dt="2025-05-13T08:35:54.385"/>
    <p1510:client id="{69CDCCDE-E24D-F53E-3089-1C33F4F4813D}" v="71" dt="2025-05-13T12:08:15.245"/>
    <p1510:client id="{B4C8E6A3-CCED-4518-115C-997A256F7F3A}" v="11" dt="2025-05-13T10:23:36.301"/>
  </p1510:revLst>
</p1510:revInfo>
</file>

<file path=ppt/tableStyles.xml><?xml version="1.0" encoding="utf-8"?>
<a:tblStyleLst xmlns:a="http://schemas.openxmlformats.org/drawingml/2006/main" def="{2BBC1A34-13A9-4DB4-A9A0-74582BA47EF5}">
  <a:tblStyle styleId="{2BBC1A34-13A9-4DB4-A9A0-74582BA47EF5}" styleName="LIDL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>
          <a:prstClr val="black"/>
        </a:fontRef>
        <a:schemeClr val="tx1"/>
      </a:tcTxStyle>
      <a:tcStyle>
        <a:tcBdr/>
        <a:fill>
          <a:noFill/>
        </a:fill>
      </a:tcStyle>
    </a:lastCol>
    <a:firstCol>
      <a:tcTxStyle b="on">
        <a:fontRef idx="major">
          <a:prstClr val="black"/>
        </a:fontRef>
        <a:schemeClr val="tx1"/>
      </a:tcTxStyle>
      <a:tcStyle>
        <a:tcBdr/>
        <a:fill>
          <a:noFill/>
        </a:fill>
      </a:tcStyle>
    </a:firstCol>
    <a:lastRow>
      <a:tcTxStyle b="on">
        <a:fontRef idx="major">
          <a:prstClr val="black"/>
        </a:fontRef>
        <a:schemeClr val="tx1"/>
      </a:tcTxStyle>
      <a:tcStyle>
        <a:tcBdr>
          <a:top>
            <a:ln w="14050" cmpd="sng">
              <a:solidFill>
                <a:schemeClr val="tx1"/>
              </a:solidFill>
            </a:ln>
          </a:top>
          <a:bottom>
            <a:ln w="0" cmpd="sng">
              <a:solidFill>
                <a:schemeClr val="tx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tx1"/>
      </a:tcTxStyle>
      <a:tcStyle>
        <a:tcBdr>
          <a:bottom>
            <a:ln w="1405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07"/>
    <p:restoredTop sz="94694"/>
  </p:normalViewPr>
  <p:slideViewPr>
    <p:cSldViewPr snapToGrid="0">
      <p:cViewPr varScale="1">
        <p:scale>
          <a:sx n="102" d="100"/>
          <a:sy n="102" d="100"/>
        </p:scale>
        <p:origin x="294" y="108"/>
      </p:cViewPr>
      <p:guideLst>
        <p:guide pos="1844"/>
        <p:guide pos="2116"/>
        <p:guide pos="2706"/>
        <p:guide pos="3704"/>
        <p:guide pos="3976"/>
        <p:guide pos="5133"/>
        <p:guide pos="5564"/>
        <p:guide pos="5836"/>
        <p:guide orient="horz" pos="709"/>
        <p:guide pos="4974"/>
        <p:guide pos="252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51520"/>
            <a:ext cx="2971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endParaRPr lang="de-DE" sz="100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836792" y="8748480"/>
            <a:ext cx="7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606352C4-00F2-4378-880D-566B190ADEE4}" type="datetime1">
              <a:rPr lang="de-DE" sz="1000" smtClean="0"/>
              <a:pPr/>
              <a:t>13.05.2025</a:t>
            </a:fld>
            <a:endParaRPr lang="de-DE" sz="100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29152" y="8748480"/>
            <a:ext cx="43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sz="1000"/>
              <a:t>Titel1 der Präsentation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477056" y="8748480"/>
            <a:ext cx="287648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de-DE" sz="1000" smtClean="0"/>
              <a:pPr/>
              <a:t>‹#›</a:t>
            </a:fld>
            <a:endParaRPr lang="de-DE" sz="100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100DC1A3-38F4-4091-95C5-EC9F6E78B3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337" y="853245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86119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79763" y="684213"/>
            <a:ext cx="3200400" cy="180022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76672" y="2771784"/>
            <a:ext cx="5904000" cy="547216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476672" y="251520"/>
            <a:ext cx="2971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sz="1000"/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836792" y="8748480"/>
            <a:ext cx="7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606352C4-00F2-4378-880D-566B190ADEE4}" type="datetime1">
              <a:rPr lang="de-DE" sz="1000" smtClean="0"/>
              <a:pPr/>
              <a:t>13.05.2025</a:t>
            </a:fld>
            <a:endParaRPr lang="de-DE" sz="100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29152" y="8748480"/>
            <a:ext cx="43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z="1000"/>
              <a:t>Titel1 der Präsentation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477056" y="8748480"/>
            <a:ext cx="287648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8FF9B0DE-3FEB-4AA0-B465-B80EF7C1333D}" type="slidenum">
              <a:rPr lang="de-DE" sz="1000" smtClean="0"/>
              <a:pPr/>
              <a:t>‹#›</a:t>
            </a:fld>
            <a:endParaRPr lang="de-DE" sz="1000"/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F0B15FF4-5A8B-4F80-B8F7-8FCB3C15FF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337" y="853245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198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lnSpc>
        <a:spcPct val="110000"/>
      </a:lnSpc>
      <a:spcBef>
        <a:spcPts val="1200"/>
      </a:spcBef>
      <a:defRPr sz="1333" b="1" i="0" kern="1200">
        <a:solidFill>
          <a:schemeClr val="tx1"/>
        </a:solidFill>
        <a:latin typeface="Lidl Font Pro" panose="02000000000000000000" pitchFamily="2" charset="0"/>
        <a:ea typeface="+mn-ea"/>
        <a:cs typeface="+mn-cs"/>
      </a:defRPr>
    </a:lvl1pPr>
  </p:notesStyle>
  <p:extLst>
    <p:ext uri="{620B2872-D7B9-4A21-9093-7833F8D536E1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8CA031-C4AC-9C6D-EA66-E76074D30C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A21B6A33-0AD2-D6D7-7D9C-650D265ED0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1F7F6C36-1538-2A0B-0D19-2E971EB498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1802C3BA-4028-9826-E74D-275BD27670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0831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6AEB-B84F-4818-BC9F-EEBBD2FEE9C9}" type="slidenum">
              <a:rPr lang="nl-BE" smtClean="0"/>
              <a:t>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34895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C90333-130D-959C-1F0F-1714B0CA31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DE6FF4BF-E413-54F4-B213-34969DFA22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9C6B2AE5-239A-44BB-3E27-2672AD73F2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9AB45A0-CDF7-22B8-16B0-B3B7BD7B09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6AEB-B84F-4818-BC9F-EEBBD2FEE9C9}" type="slidenum">
              <a:rPr lang="nl-BE" smtClean="0"/>
              <a:t>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987204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4">
          <a:extLst>
            <a:ext uri="{FF2B5EF4-FFF2-40B4-BE49-F238E27FC236}">
              <a16:creationId xmlns:a16="http://schemas.microsoft.com/office/drawing/2014/main" id="{0E843AED-A198-9A14-03CE-101690DA8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g22d7225bb2e_0_7:notes">
            <a:extLst>
              <a:ext uri="{FF2B5EF4-FFF2-40B4-BE49-F238E27FC236}">
                <a16:creationId xmlns:a16="http://schemas.microsoft.com/office/drawing/2014/main" id="{8DE4A991-2437-C204-042F-3DC92E6EEB5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indent="-298450">
              <a:buClr>
                <a:schemeClr val="dk1"/>
              </a:buClr>
              <a:buSzPts val="1100"/>
              <a:buFont typeface="Arial"/>
              <a:buChar char="•"/>
            </a:pPr>
            <a:endParaRPr lang="en-US"/>
          </a:p>
        </p:txBody>
      </p:sp>
      <p:sp>
        <p:nvSpPr>
          <p:cNvPr id="426" name="Google Shape;426;g22d7225bb2e_0_7:notes">
            <a:extLst>
              <a:ext uri="{FF2B5EF4-FFF2-40B4-BE49-F238E27FC236}">
                <a16:creationId xmlns:a16="http://schemas.microsoft.com/office/drawing/2014/main" id="{8C2B4A26-BE5A-594E-FABD-2D466505413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642118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4">
          <a:extLst>
            <a:ext uri="{FF2B5EF4-FFF2-40B4-BE49-F238E27FC236}">
              <a16:creationId xmlns:a16="http://schemas.microsoft.com/office/drawing/2014/main" id="{119CF59A-DF53-0763-35DC-94D417F0E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g22d7225bb2e_0_7:notes">
            <a:extLst>
              <a:ext uri="{FF2B5EF4-FFF2-40B4-BE49-F238E27FC236}">
                <a16:creationId xmlns:a16="http://schemas.microsoft.com/office/drawing/2014/main" id="{DA6E872A-6E5E-72B5-F1BC-B1B085CB639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indent="-298450">
              <a:buClr>
                <a:schemeClr val="dk1"/>
              </a:buClr>
              <a:buSzPts val="1100"/>
              <a:buFont typeface="Arial"/>
              <a:buChar char="•"/>
            </a:pPr>
            <a:endParaRPr lang="en-US"/>
          </a:p>
        </p:txBody>
      </p:sp>
      <p:sp>
        <p:nvSpPr>
          <p:cNvPr id="426" name="Google Shape;426;g22d7225bb2e_0_7:notes">
            <a:extLst>
              <a:ext uri="{FF2B5EF4-FFF2-40B4-BE49-F238E27FC236}">
                <a16:creationId xmlns:a16="http://schemas.microsoft.com/office/drawing/2014/main" id="{CE46FC1E-8FCA-7B6A-440E-CEBDB0C101B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932336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4">
          <a:extLst>
            <a:ext uri="{FF2B5EF4-FFF2-40B4-BE49-F238E27FC236}">
              <a16:creationId xmlns:a16="http://schemas.microsoft.com/office/drawing/2014/main" id="{4A497C64-F98B-FEBF-2764-92ED8AC127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g22d7225bb2e_0_7:notes">
            <a:extLst>
              <a:ext uri="{FF2B5EF4-FFF2-40B4-BE49-F238E27FC236}">
                <a16:creationId xmlns:a16="http://schemas.microsoft.com/office/drawing/2014/main" id="{0761422C-322F-8879-ABA8-8DAD779BD7B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indent="-298450">
              <a:buClr>
                <a:schemeClr val="dk1"/>
              </a:buClr>
              <a:buSzPts val="1100"/>
              <a:buFont typeface="Arial"/>
              <a:buChar char="•"/>
            </a:pPr>
            <a:endParaRPr lang="en-US"/>
          </a:p>
        </p:txBody>
      </p:sp>
      <p:sp>
        <p:nvSpPr>
          <p:cNvPr id="426" name="Google Shape;426;g22d7225bb2e_0_7:notes">
            <a:extLst>
              <a:ext uri="{FF2B5EF4-FFF2-40B4-BE49-F238E27FC236}">
                <a16:creationId xmlns:a16="http://schemas.microsoft.com/office/drawing/2014/main" id="{AB2E534F-22F4-1D0A-4FF7-6F6EB435E32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782673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A86AEB-B84F-4818-BC9F-EEBBD2FEE9C9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l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6852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7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1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40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5" Type="http://schemas.openxmlformats.org/officeDocument/2006/relationships/image" Target="../media/image40.png"/><Relationship Id="rId4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5" Type="http://schemas.openxmlformats.org/officeDocument/2006/relationships/image" Target="../media/image40.png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5" Type="http://schemas.openxmlformats.org/officeDocument/2006/relationships/image" Target="../media/image40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89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1557339"/>
            <a:ext cx="885600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noProof="0"/>
              <a:t>Presentatietitel (op 1-2 regels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68000" y="3435971"/>
            <a:ext cx="885600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nl-NL" noProof="0"/>
              <a:t>Ondertitel van de presentatie</a:t>
            </a:r>
            <a:br>
              <a:rPr lang="nl-NL" noProof="0"/>
            </a:br>
            <a:r>
              <a:rPr lang="nl-NL" noProof="0"/>
              <a:t>(op 1-2 regels)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nl-NL" noProof="0"/>
              <a:t>Locatie, </a:t>
            </a:r>
            <a:r>
              <a:rPr lang="nl-NL" noProof="0" err="1"/>
              <a:t>xx.maand.xxxx</a:t>
            </a:r>
            <a:endParaRPr lang="nl-NL" noProof="0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CC72B5D-EB52-4429-B211-425945C57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134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F86DD87C-3A58-45E5-8112-44900FCBFC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7730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F86DD87C-3A58-45E5-8112-44900FCBF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4537075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nl-NL" noProof="0"/>
              <a:t>Presentatietitel (op 1-2 regels)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4537075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nl-NL" noProof="0"/>
              <a:t>Ondertitel van de presentatie</a:t>
            </a:r>
            <a:br>
              <a:rPr lang="nl-NL" noProof="0"/>
            </a:br>
            <a:r>
              <a:rPr lang="nl-NL" noProof="0"/>
              <a:t>(op 1-2 regels)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nl-NL"/>
              <a:t>00</a:t>
            </a:r>
          </a:p>
          <a:p>
            <a:pPr lvl="0"/>
            <a:r>
              <a:rPr lang="nl-NL"/>
              <a:t>Tweede niveau</a:t>
            </a:r>
          </a:p>
          <a:p>
            <a:pPr lvl="0"/>
            <a:r>
              <a:rPr lang="nl-NL"/>
              <a:t>Derde niveau</a:t>
            </a:r>
          </a:p>
          <a:p>
            <a:pPr lvl="0"/>
            <a:r>
              <a:rPr lang="nl-NL"/>
              <a:t>Vierde niveau</a:t>
            </a:r>
          </a:p>
          <a:p>
            <a:pPr lvl="0"/>
            <a:r>
              <a:rPr lang="nl-NL"/>
              <a:t>Vijfde niveau</a:t>
            </a:r>
          </a:p>
          <a:p>
            <a:pPr lvl="0"/>
            <a:r>
              <a:rPr lang="nl-NL"/>
              <a:t>Zes</a:t>
            </a:r>
          </a:p>
          <a:p>
            <a:pPr lvl="0"/>
            <a:r>
              <a:rPr lang="nl-NL"/>
              <a:t>Zeven</a:t>
            </a:r>
          </a:p>
          <a:p>
            <a:pPr lvl="0"/>
            <a:r>
              <a:rPr lang="nl-NL"/>
              <a:t>Acht</a:t>
            </a:r>
          </a:p>
          <a:p>
            <a:pPr lvl="0"/>
            <a:r>
              <a:rPr lang="nl-NL"/>
              <a:t>Negen</a:t>
            </a:r>
          </a:p>
          <a:p>
            <a:pPr lvl="0"/>
            <a:endParaRPr lang="nl-NL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8183562" y="0"/>
            <a:ext cx="4008437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901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102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11376025" cy="44640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titel</a:t>
            </a:r>
            <a:r>
              <a:rPr lang="en-GB" noProof="0"/>
              <a:t> toe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voegen</a:t>
            </a:r>
            <a:endParaRPr lang="en-GB" noProof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9" name="Symbol zastępczy daty 8">
            <a:extLst>
              <a:ext uri="{FF2B5EF4-FFF2-40B4-BE49-F238E27FC236}">
                <a16:creationId xmlns:a16="http://schemas.microsoft.com/office/drawing/2014/main" id="{7EC46B94-0D08-4CE0-B22F-D813B47C93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11" name="Symbol zastępczy stopki 10">
            <a:extLst>
              <a:ext uri="{FF2B5EF4-FFF2-40B4-BE49-F238E27FC236}">
                <a16:creationId xmlns:a16="http://schemas.microsoft.com/office/drawing/2014/main" id="{7E5D491C-8758-458C-A681-72200280927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</a:p>
        </p:txBody>
      </p:sp>
      <p:sp>
        <p:nvSpPr>
          <p:cNvPr id="15" name="Symbol zastępczy numeru slajdu 14">
            <a:extLst>
              <a:ext uri="{FF2B5EF4-FFF2-40B4-BE49-F238E27FC236}">
                <a16:creationId xmlns:a16="http://schemas.microsoft.com/office/drawing/2014/main" id="{B2750AB2-2DA9-4CAA-8087-9BBAEB9922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490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 userDrawn="1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6C32A24-1D2F-41A7-87DA-EE021ABD9D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4627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6C32A24-1D2F-41A7-87DA-EE021ABD9D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titel</a:t>
            </a:r>
            <a:r>
              <a:rPr lang="en-GB" noProof="0"/>
              <a:t> toe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voegen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6312632" y="1557339"/>
            <a:ext cx="5472000" cy="446395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1" name="Symbol zastępczy daty 10">
            <a:extLst>
              <a:ext uri="{FF2B5EF4-FFF2-40B4-BE49-F238E27FC236}">
                <a16:creationId xmlns:a16="http://schemas.microsoft.com/office/drawing/2014/main" id="{0C373CB0-8B8A-4362-B863-C95BECC62E2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r"/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15" name="Symbol zastępczy stopki 14">
            <a:extLst>
              <a:ext uri="{FF2B5EF4-FFF2-40B4-BE49-F238E27FC236}">
                <a16:creationId xmlns:a16="http://schemas.microsoft.com/office/drawing/2014/main" id="{BA1D980C-59AB-43EF-9509-A6F5649B043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PowerPoint Master</a:t>
            </a:r>
          </a:p>
        </p:txBody>
      </p:sp>
      <p:sp>
        <p:nvSpPr>
          <p:cNvPr id="16" name="Symbol zastępczy numeru slajdu 15">
            <a:extLst>
              <a:ext uri="{FF2B5EF4-FFF2-40B4-BE49-F238E27FC236}">
                <a16:creationId xmlns:a16="http://schemas.microsoft.com/office/drawing/2014/main" id="{6AD11080-1B0E-49C4-9D36-0DBD7E44AC7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5685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18E44A-F63E-4819-AF26-29E2960B6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54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818E44A-F63E-4819-AF26-29E2960B6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6792"/>
            <a:ext cx="3600000" cy="4464075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titel</a:t>
            </a:r>
            <a:r>
              <a:rPr lang="en-GB" noProof="0"/>
              <a:t> toe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voegen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295800" y="1557213"/>
            <a:ext cx="3600000" cy="4464075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EC89F919-1B13-4706-A895-5230C18E4967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8184632" y="1557338"/>
            <a:ext cx="3600000" cy="4464075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5" name="Symbol zastępczy daty 14">
            <a:extLst>
              <a:ext uri="{FF2B5EF4-FFF2-40B4-BE49-F238E27FC236}">
                <a16:creationId xmlns:a16="http://schemas.microsoft.com/office/drawing/2014/main" id="{55D96B04-E234-4014-8FCC-6487952D453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16" name="Symbol zastępczy stopki 15">
            <a:extLst>
              <a:ext uri="{FF2B5EF4-FFF2-40B4-BE49-F238E27FC236}">
                <a16:creationId xmlns:a16="http://schemas.microsoft.com/office/drawing/2014/main" id="{BA63FE83-0C55-400A-9C1A-02449CD5555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PowerPoint Master</a:t>
            </a:r>
          </a:p>
        </p:txBody>
      </p:sp>
      <p:sp>
        <p:nvSpPr>
          <p:cNvPr id="17" name="Symbol zastępczy numeru slajdu 16">
            <a:extLst>
              <a:ext uri="{FF2B5EF4-FFF2-40B4-BE49-F238E27FC236}">
                <a16:creationId xmlns:a16="http://schemas.microsoft.com/office/drawing/2014/main" id="{28D347F1-B51D-47EF-954D-19F05A85137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4124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15C34BC-9550-479A-8EB8-445796C51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039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15C34BC-9550-479A-8EB8-445796C51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5472112" cy="44640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9" y="6165328"/>
            <a:ext cx="5472732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9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titel</a:t>
            </a:r>
            <a:r>
              <a:rPr lang="en-GB" noProof="0"/>
              <a:t> toe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voegen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404696"/>
            <a:ext cx="5471468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6311900" y="0"/>
            <a:ext cx="5880099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F4DD610-2368-4729-979C-69C66C382CB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0C5F920-6526-419F-93CD-71241C26F6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ACDA27-4503-41E6-B4EF-5FA9C82CB2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9976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3D06834-44FF-4BAC-9D0E-C47BE5975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344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3D06834-44FF-4BAC-9D0E-C47BE5975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7488237" cy="44640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748885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40776"/>
            <a:ext cx="7488857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titel</a:t>
            </a:r>
            <a:r>
              <a:rPr lang="en-GB" noProof="0"/>
              <a:t> toe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voegen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748759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8183562" y="0"/>
            <a:ext cx="4008437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ECEF76-3969-412F-86F3-1A1BE3534A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68D9AF4-BD8E-4650-A66A-81DB015631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  <p:sp>
        <p:nvSpPr>
          <p:cNvPr id="15" name="Foliennummernplatzhalter 4">
            <a:extLst>
              <a:ext uri="{FF2B5EF4-FFF2-40B4-BE49-F238E27FC236}">
                <a16:creationId xmlns:a16="http://schemas.microsoft.com/office/drawing/2014/main" id="{97DC8CB9-25A8-46A3-BD7C-0371E033FE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24013" y="6525368"/>
            <a:ext cx="360000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9644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889991-D7C3-47DC-A0E7-496256CBD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476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9889991-D7C3-47DC-A0E7-496256CBD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titel</a:t>
            </a:r>
            <a:r>
              <a:rPr lang="en-GB" noProof="0"/>
              <a:t> toe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voegen</a:t>
            </a:r>
            <a:endParaRPr lang="de-DE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73FAEC6-8B23-4327-9DFE-B48C2DF8A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8BE66F-899A-4EEE-8357-5D8804E5B6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19722D-98AB-4C04-B345-FEA8A37D754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78EDF34-D83F-47D7-90B2-2FBAB1018D7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8990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 userDrawn="1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uziert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4514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116632"/>
            <a:ext cx="11376000" cy="288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nl-NL"/>
              <a:t>Gebruik dit alleen voor grote draaitabellen of tabellen met belangrijke cijfers</a:t>
            </a:r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FF5A8C7-FE4D-4452-9E15-4B91B266A0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7A1D4A-1311-426B-A2A9-64E1F7FE37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ED5A52-36B6-4A34-9598-8ADDB9923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71EB2444-B66C-4C40-A38B-0D92751C70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7" y="477000"/>
            <a:ext cx="11376025" cy="432000"/>
          </a:xfrm>
        </p:spPr>
        <p:txBody>
          <a:bodyPr/>
          <a:lstStyle>
            <a:lvl1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nl-NL"/>
              <a:t>die te groot zijn om in de andere lay-outs te passen</a:t>
            </a:r>
          </a:p>
          <a:p>
            <a:r>
              <a:rPr lang="de-DE"/>
              <a:t>Tweede </a:t>
            </a:r>
            <a:r>
              <a:rPr lang="de-DE" err="1"/>
              <a:t>niveau</a:t>
            </a:r>
            <a:endParaRPr lang="de-DE"/>
          </a:p>
          <a:p>
            <a:pPr lvl="2"/>
            <a:r>
              <a:rPr lang="de-DE" err="1"/>
              <a:t>Der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3"/>
            <a:r>
              <a:rPr lang="de-DE" err="1"/>
              <a:t>Vier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4"/>
            <a:r>
              <a:rPr lang="de-DE" err="1"/>
              <a:t>Vijf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5"/>
            <a:r>
              <a:rPr lang="de-DE" err="1"/>
              <a:t>Zes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6"/>
            <a:r>
              <a:rPr lang="de-DE" err="1"/>
              <a:t>Zeven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7"/>
            <a:r>
              <a:rPr lang="de-DE" err="1"/>
              <a:t>Achtst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8"/>
            <a:r>
              <a:rPr lang="de-DE" err="1"/>
              <a:t>Negen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8607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 userDrawn="1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1999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4696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916A45A-EC1B-4CC7-A5E6-073835D9E6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67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916A45A-EC1B-4CC7-A5E6-073835D9E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4" y="0"/>
            <a:ext cx="5879975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titel</a:t>
            </a:r>
            <a:r>
              <a:rPr lang="en-GB" noProof="0"/>
              <a:t> toe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voegen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8BDF05-DA9C-4140-BBCE-A540250E509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713DA2-6385-4731-9857-4EA4ABB202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2273699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4A7B0D83-8E0C-4C18-A552-73CED6AF29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64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4A7B0D83-8E0C-4C18-A552-73CED6AF2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1557339"/>
            <a:ext cx="8856000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err="1"/>
              <a:t>Presentatietitel</a:t>
            </a:r>
            <a:r>
              <a:rPr lang="en-US"/>
              <a:t> (op 1-2 regels)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3236219"/>
            <a:ext cx="885600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nl-NL" noProof="0"/>
              <a:t>Ondertitel van de presentatie</a:t>
            </a:r>
            <a:br>
              <a:rPr lang="nl-NL" noProof="0"/>
            </a:br>
            <a:r>
              <a:rPr lang="nl-NL" noProof="0"/>
              <a:t>(op 1-2 regels)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 noProof="0"/>
              <a:t>Locatie, </a:t>
            </a:r>
            <a:r>
              <a:rPr lang="nl-NL" noProof="0" err="1"/>
              <a:t>xx.maand.xxxx</a:t>
            </a:r>
            <a:endParaRPr lang="nl-NL" noProof="0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9C95B53-682B-42C7-87E1-07187144646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1141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01794039-6EE9-42EA-AEBC-3793E6922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2098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01794039-6EE9-42EA-AEBC-3793E6922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12025" y="3429000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titel</a:t>
            </a:r>
            <a:r>
              <a:rPr lang="en-GB" noProof="0"/>
              <a:t> toe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voegen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4" y="1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29EE2EA-4DD7-4C2A-A348-6510E8D3B8A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FBC02-8D0A-4411-A701-FB3C646EF58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3816982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F5914911-BEE2-4A92-94B8-B86F36789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272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F5914911-BEE2-4A92-94B8-B86F36789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12025" y="3429000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titel</a:t>
            </a:r>
            <a:r>
              <a:rPr lang="en-GB" noProof="0"/>
              <a:t> toe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voegen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312024" y="1"/>
            <a:ext cx="3097089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9FB83DFD-5A5B-4FEC-89F4-CBBAD40D217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9409113" y="0"/>
            <a:ext cx="2782887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206B50-4E0B-490D-B448-6C8D3775A3C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3C64CF2-1E17-4044-91EC-BB51A7581D4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2933468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720CC2A-69E5-4868-B716-9775A7ECA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6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720CC2A-69E5-4868-B716-9775A7ECA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1DBD824E-7BD9-42EB-A741-717B9ED9C6A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183563" y="4590000"/>
            <a:ext cx="4008437" cy="226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7488236" cy="129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165328"/>
            <a:ext cx="748885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7" y="740776"/>
            <a:ext cx="7488857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titel</a:t>
            </a:r>
            <a:r>
              <a:rPr lang="en-GB" noProof="0"/>
              <a:t> toe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voegen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1" y="404696"/>
            <a:ext cx="748759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8183563" y="0"/>
            <a:ext cx="4008437" cy="226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83563" y="2268000"/>
            <a:ext cx="4008437" cy="2322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B50ECE-B0BA-455D-8F30-CE845B849E88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DB6783-981C-4B47-9092-89F09DE80A8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C8C35B0-D28C-470A-9370-CD75020BFE3D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 bwMode="gray">
          <a:xfrm>
            <a:off x="407988" y="3032906"/>
            <a:ext cx="7488236" cy="129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34C99758-AEB9-4B74-A583-4F20E16B1F20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 bwMode="gray">
          <a:xfrm>
            <a:off x="408224" y="5085328"/>
            <a:ext cx="7488000" cy="1296000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</p:spTree>
    <p:extLst>
      <p:ext uri="{BB962C8B-B14F-4D97-AF65-F5344CB8AC3E}">
        <p14:creationId xmlns:p14="http://schemas.microsoft.com/office/powerpoint/2010/main" val="4198944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296421" y="4077072"/>
            <a:ext cx="3599779" cy="1943668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8184232" y="4077072"/>
            <a:ext cx="3599779" cy="1943668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588006" y="4041354"/>
            <a:ext cx="3599779" cy="1943668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165328"/>
            <a:ext cx="11376645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7" y="740776"/>
            <a:ext cx="1137664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titel</a:t>
            </a:r>
            <a:r>
              <a:rPr lang="en-GB" noProof="0"/>
              <a:t> toe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voegen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1557040"/>
            <a:ext cx="4187788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187785" y="1557040"/>
            <a:ext cx="3816431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8004216" y="1557040"/>
            <a:ext cx="4187784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38B435-437A-4B44-849D-F23018BA51F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B779B-7CC9-436F-94F9-869E854FB96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CDD30F-F971-47F1-8BD7-CA36DF36C46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7252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  <p15:guide id="3" orient="horz" pos="243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C4CD7F-32FC-4BB4-BA7E-179B0107D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8696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C4CD7F-32FC-4BB4-BA7E-179B0107D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8AAAFE53-B217-4863-83D4-FC060BAB860C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9264632" y="3573564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Voer tekst in. Met de knoppen ‘Lijstniveau verlagen’ en ‘Lijstniveau verhogen’ in het menu Start wissel je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3359696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Voer tekst in. Met de knoppen ‘Lijstniveau verlagen’ en ‘Lijstniveau verhogen’ in het menu Start wissel je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6312024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Voer tekst in. Met de knoppen ‘Lijstniveau verlagen’ en ‘Lijstniveau verhogen’ in het menu Start wissel je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371376" y="3537583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l-NL" noProof="0"/>
              <a:t>Voer tekst in. Met de knoppen ‘Lijstniveau verlagen’ en ‘Lijstniveau verhogen’ in het menu Start wissel je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7" y="740776"/>
            <a:ext cx="1137664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err="1"/>
              <a:t>Klik</a:t>
            </a:r>
            <a:r>
              <a:rPr lang="en-GB" noProof="0"/>
              <a:t> om </a:t>
            </a:r>
            <a:r>
              <a:rPr lang="en-GB" noProof="0" err="1"/>
              <a:t>titel</a:t>
            </a:r>
            <a:r>
              <a:rPr lang="en-GB" noProof="0"/>
              <a:t> toe </a:t>
            </a:r>
            <a:r>
              <a:rPr lang="en-GB" noProof="0" err="1"/>
              <a:t>te</a:t>
            </a:r>
            <a:r>
              <a:rPr lang="en-GB" noProof="0"/>
              <a:t> </a:t>
            </a:r>
            <a:r>
              <a:rPr lang="en-GB" noProof="0" err="1"/>
              <a:t>voegen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1556792"/>
            <a:ext cx="3059995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059995" y="1556792"/>
            <a:ext cx="3044002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103997" y="1556792"/>
            <a:ext cx="3044001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C14F9E91-B48F-4001-B73E-2BE94299F49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9147998" y="1556792"/>
            <a:ext cx="3044001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F6E8532-3785-4A2D-875E-90B06880E69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B39C52-5892-44D3-B0AB-C42E46ED39F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D1A2243-D184-476A-B301-7C726E44189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8902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  <p15:guide id="3" orient="horz" pos="211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612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>
              <a:lnSpc>
                <a:spcPct val="120000"/>
              </a:lnSpc>
            </a:pPr>
            <a:endParaRPr lang="de-DE" sz="2489"/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368" y="489372"/>
            <a:ext cx="8856000" cy="1224136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Bedank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72328" y="2852936"/>
            <a:ext cx="4176000" cy="273630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r>
              <a:rPr lang="de-DE" err="1"/>
              <a:t>Voornaam</a:t>
            </a:r>
            <a:r>
              <a:rPr lang="de-DE"/>
              <a:t>, </a:t>
            </a:r>
            <a:r>
              <a:rPr lang="de-DE" err="1"/>
              <a:t>naam</a:t>
            </a:r>
            <a:endParaRPr lang="de-DE"/>
          </a:p>
          <a:p>
            <a:pPr lvl="1"/>
            <a:r>
              <a:rPr lang="de-DE"/>
              <a:t>Tweede </a:t>
            </a:r>
            <a:r>
              <a:rPr lang="de-DE" err="1"/>
              <a:t>niveau</a:t>
            </a:r>
            <a:endParaRPr lang="de-DE"/>
          </a:p>
          <a:p>
            <a:pPr lvl="2"/>
            <a:r>
              <a:rPr lang="de-DE" err="1"/>
              <a:t>Der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3"/>
            <a:r>
              <a:rPr lang="de-DE" err="1"/>
              <a:t>Vier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4"/>
            <a:r>
              <a:rPr lang="de-DE" err="1"/>
              <a:t>Vijf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5"/>
            <a:r>
              <a:rPr lang="de-DE" err="1"/>
              <a:t>Zes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6"/>
            <a:r>
              <a:rPr lang="de-DE" err="1"/>
              <a:t>Zeven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7"/>
            <a:r>
              <a:rPr lang="de-DE" err="1"/>
              <a:t>Achtst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8"/>
            <a:r>
              <a:rPr lang="de-DE" err="1"/>
              <a:t>Negen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368" y="2852936"/>
            <a:ext cx="4176000" cy="2736304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err="1"/>
              <a:t>Voornaam</a:t>
            </a:r>
            <a:r>
              <a:rPr lang="de-DE"/>
              <a:t>, </a:t>
            </a:r>
            <a:r>
              <a:rPr lang="de-DE" err="1"/>
              <a:t>naam</a:t>
            </a:r>
            <a:endParaRPr lang="de-DE"/>
          </a:p>
          <a:p>
            <a:pPr lvl="1"/>
            <a:r>
              <a:rPr lang="de-DE"/>
              <a:t>Tweede </a:t>
            </a:r>
            <a:r>
              <a:rPr lang="de-DE" err="1"/>
              <a:t>niveau</a:t>
            </a:r>
            <a:endParaRPr lang="de-DE"/>
          </a:p>
          <a:p>
            <a:pPr lvl="2"/>
            <a:r>
              <a:rPr lang="de-DE" err="1"/>
              <a:t>Der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3"/>
            <a:r>
              <a:rPr lang="de-DE" err="1"/>
              <a:t>Vier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4"/>
            <a:r>
              <a:rPr lang="de-DE" err="1"/>
              <a:t>Vijf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5"/>
            <a:r>
              <a:rPr lang="de-DE" err="1"/>
              <a:t>Zes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6"/>
            <a:r>
              <a:rPr lang="de-DE" err="1"/>
              <a:t>Zeven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7"/>
            <a:r>
              <a:rPr lang="de-DE" err="1"/>
              <a:t>Achtst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8"/>
            <a:r>
              <a:rPr lang="de-DE" err="1"/>
              <a:t>Negen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437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.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941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.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63625631-77D4-4415-8C98-9A89D4FE6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5904503"/>
            <a:ext cx="252000" cy="252000"/>
          </a:xfrm>
          <a:blipFill>
            <a:blip r:embed="rId6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8A99C9-A31A-481D-B782-83F10A2E4D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72328" y="5904503"/>
            <a:ext cx="252000" cy="252000"/>
          </a:xfrm>
          <a:blipFill>
            <a:blip r:embed="rId6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CEB30A4-05EE-4442-B513-54D1C0A043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368" y="6213031"/>
            <a:ext cx="252000" cy="252000"/>
          </a:xfrm>
          <a:blipFill dpi="0" rotWithShape="1">
            <a:blip r:embed="rId7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711923E-2A99-4720-8987-F4B56C573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72328" y="6213031"/>
            <a:ext cx="252000" cy="252000"/>
          </a:xfrm>
          <a:blipFill dpi="0" rotWithShape="1">
            <a:blip r:embed="rId7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8ACC2CD-6F0E-4062-8645-C9CC0349098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B00AA7-4947-4D86-9AB4-F87CC9DEEA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0437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err="1">
                <a:latin typeface="+mn-lt"/>
              </a:rPr>
              <a:t>E-mail</a:t>
            </a:r>
            <a:endParaRPr lang="de-DE">
              <a:latin typeface="+mn-lt"/>
            </a:endParaRP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41B0BE8-B4D6-42BB-A617-E1D546C16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941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err="1">
                <a:latin typeface="+mn-lt"/>
              </a:rPr>
              <a:t>E-mail</a:t>
            </a:r>
            <a:endParaRPr lang="de-D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33929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49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368" y="489372"/>
            <a:ext cx="8856000" cy="1224136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Bedank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72328" y="2852936"/>
            <a:ext cx="4176000" cy="273630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9pPr>
          </a:lstStyle>
          <a:p>
            <a:r>
              <a:rPr lang="de-DE" err="1"/>
              <a:t>Voornaam</a:t>
            </a:r>
            <a:r>
              <a:rPr lang="de-DE"/>
              <a:t>, </a:t>
            </a:r>
            <a:r>
              <a:rPr lang="de-DE" err="1"/>
              <a:t>naam</a:t>
            </a:r>
            <a:endParaRPr lang="de-DE"/>
          </a:p>
          <a:p>
            <a:pPr lvl="1"/>
            <a:r>
              <a:rPr lang="de-DE"/>
              <a:t>Tweede </a:t>
            </a:r>
            <a:r>
              <a:rPr lang="de-DE" err="1"/>
              <a:t>niveau</a:t>
            </a:r>
            <a:endParaRPr lang="de-DE"/>
          </a:p>
          <a:p>
            <a:pPr lvl="2"/>
            <a:r>
              <a:rPr lang="de-DE" err="1"/>
              <a:t>Der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3"/>
            <a:r>
              <a:rPr lang="de-DE" err="1"/>
              <a:t>Vier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4"/>
            <a:r>
              <a:rPr lang="de-DE" err="1"/>
              <a:t>Vijf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5"/>
            <a:r>
              <a:rPr lang="de-DE" err="1"/>
              <a:t>Zes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6"/>
            <a:r>
              <a:rPr lang="de-DE" err="1"/>
              <a:t>Zeven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7"/>
            <a:r>
              <a:rPr lang="de-DE" err="1"/>
              <a:t>Achtst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8"/>
            <a:r>
              <a:rPr lang="de-DE" err="1"/>
              <a:t>Negen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368" y="2852936"/>
            <a:ext cx="4176000" cy="2736304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err="1"/>
              <a:t>Voornaam</a:t>
            </a:r>
            <a:r>
              <a:rPr lang="de-DE"/>
              <a:t>, </a:t>
            </a:r>
            <a:r>
              <a:rPr lang="de-DE" err="1"/>
              <a:t>naam</a:t>
            </a:r>
            <a:endParaRPr lang="de-DE"/>
          </a:p>
          <a:p>
            <a:pPr lvl="1"/>
            <a:r>
              <a:rPr lang="de-DE"/>
              <a:t>Tweede </a:t>
            </a:r>
            <a:r>
              <a:rPr lang="de-DE" err="1"/>
              <a:t>niveau</a:t>
            </a:r>
            <a:endParaRPr lang="de-DE"/>
          </a:p>
          <a:p>
            <a:pPr lvl="2"/>
            <a:r>
              <a:rPr lang="de-DE" err="1"/>
              <a:t>Der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3"/>
            <a:r>
              <a:rPr lang="de-DE" err="1"/>
              <a:t>Vier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4"/>
            <a:r>
              <a:rPr lang="de-DE" err="1"/>
              <a:t>Vijf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5"/>
            <a:r>
              <a:rPr lang="de-DE" err="1"/>
              <a:t>Zes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6"/>
            <a:r>
              <a:rPr lang="de-DE" err="1"/>
              <a:t>Zeven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7"/>
            <a:r>
              <a:rPr lang="de-DE" err="1"/>
              <a:t>Achtst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  <a:p>
            <a:pPr lvl="8"/>
            <a:r>
              <a:rPr lang="de-DE" err="1"/>
              <a:t>Negende</a:t>
            </a:r>
            <a:r>
              <a:rPr lang="de-DE"/>
              <a:t> </a:t>
            </a:r>
            <a:r>
              <a:rPr lang="de-DE" err="1"/>
              <a:t>niveau</a:t>
            </a:r>
            <a:endParaRPr lang="de-DE"/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437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.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941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.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63625631-77D4-4415-8C98-9A89D4FE6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5904503"/>
            <a:ext cx="252000" cy="252000"/>
          </a:xfrm>
          <a:blipFill>
            <a:blip r:embed="rId6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8A99C9-A31A-481D-B782-83F10A2E4D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72328" y="5904503"/>
            <a:ext cx="252000" cy="252000"/>
          </a:xfrm>
          <a:blipFill>
            <a:blip r:embed="rId6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CEB30A4-05EE-4442-B513-54D1C0A043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368" y="6213031"/>
            <a:ext cx="252000" cy="252000"/>
          </a:xfrm>
          <a:blipFill dpi="0" rotWithShape="1">
            <a:blip r:embed="rId7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711923E-2A99-4720-8987-F4B56C573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72328" y="6213031"/>
            <a:ext cx="252000" cy="252000"/>
          </a:xfrm>
          <a:blipFill dpi="0" rotWithShape="1">
            <a:blip r:embed="rId7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8ACC2CD-6F0E-4062-8645-C9CC0349098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B00AA7-4947-4D86-9AB4-F87CC9DEEA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0437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err="1">
                <a:latin typeface="+mn-lt"/>
              </a:rPr>
              <a:t>E-mail</a:t>
            </a:r>
            <a:endParaRPr lang="de-DE">
              <a:latin typeface="+mn-lt"/>
            </a:endParaRP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41B0BE8-B4D6-42BB-A617-E1D546C16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941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err="1">
                <a:latin typeface="+mn-lt"/>
              </a:rPr>
              <a:t>E-mail</a:t>
            </a:r>
            <a:endParaRPr lang="de-DE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20879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CBEC2E3F-C1EA-43E3-80B7-F0D44312486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A1017C2-DBB3-4119-99A7-970AB05DF8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000" y="2205004"/>
            <a:ext cx="2452935" cy="24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875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3793" userDrawn="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B89EB33F-AD6E-4F8D-AC4C-EAB59AC700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000" y="2205004"/>
            <a:ext cx="2452935" cy="24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178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3793" userDrawn="1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s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2525F6-965C-48FA-6A3E-DA07C8172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71618E-E1BF-1D51-0CD0-B514F79F0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XX maand 202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24D2D6-9E4E-CD9B-FCEF-E1937B5AE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7BDA28-C563-FB53-8215-11DCA6A10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63A82ED-DE90-DD89-3717-1BA71D413BCC}"/>
              </a:ext>
            </a:extLst>
          </p:cNvPr>
          <p:cNvSpPr/>
          <p:nvPr userDrawn="1"/>
        </p:nvSpPr>
        <p:spPr bwMode="gray">
          <a:xfrm>
            <a:off x="566399" y="4538876"/>
            <a:ext cx="1616330" cy="1584000"/>
          </a:xfrm>
          <a:prstGeom prst="ellipse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BFBCCA-A982-A944-9673-44206745F7F5}"/>
              </a:ext>
            </a:extLst>
          </p:cNvPr>
          <p:cNvSpPr/>
          <p:nvPr userDrawn="1"/>
        </p:nvSpPr>
        <p:spPr bwMode="gray">
          <a:xfrm>
            <a:off x="264000" y="332816"/>
            <a:ext cx="2232000" cy="6192368"/>
          </a:xfrm>
          <a:prstGeom prst="rect">
            <a:avLst/>
          </a:prstGeom>
          <a:solidFill>
            <a:srgbClr val="E51E2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EE1C5E-188C-DC38-B9F1-5CBA3ED8FF64}"/>
              </a:ext>
            </a:extLst>
          </p:cNvPr>
          <p:cNvSpPr/>
          <p:nvPr userDrawn="1"/>
        </p:nvSpPr>
        <p:spPr bwMode="gray">
          <a:xfrm>
            <a:off x="2618131" y="332816"/>
            <a:ext cx="2232000" cy="6192368"/>
          </a:xfrm>
          <a:prstGeom prst="rect">
            <a:avLst/>
          </a:prstGeom>
          <a:solidFill>
            <a:srgbClr val="FFC50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94CC10-49FD-0A03-F76D-055B78923417}"/>
              </a:ext>
            </a:extLst>
          </p:cNvPr>
          <p:cNvSpPr/>
          <p:nvPr userDrawn="1"/>
        </p:nvSpPr>
        <p:spPr bwMode="gray">
          <a:xfrm>
            <a:off x="4972262" y="332816"/>
            <a:ext cx="2232000" cy="6192368"/>
          </a:xfrm>
          <a:prstGeom prst="rect">
            <a:avLst/>
          </a:prstGeom>
          <a:solidFill>
            <a:srgbClr val="0B173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4B040BB-9B0B-46B3-A043-2292FD2530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0190" t="33512" r="43256" b="38338"/>
          <a:stretch/>
        </p:blipFill>
        <p:spPr>
          <a:xfrm>
            <a:off x="408000" y="2542465"/>
            <a:ext cx="1944000" cy="1512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EFBF655-1FCC-671A-3915-51C3BE4B96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9125" t="33512" r="23707" b="38338"/>
          <a:stretch/>
        </p:blipFill>
        <p:spPr>
          <a:xfrm>
            <a:off x="2735544" y="2542465"/>
            <a:ext cx="2016000" cy="1512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D7CFD43-495A-EDB3-9553-1EEE10934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8817" t="33512" r="4629" b="38338"/>
          <a:stretch/>
        </p:blipFill>
        <p:spPr>
          <a:xfrm>
            <a:off x="5135088" y="2542465"/>
            <a:ext cx="1944000" cy="1512000"/>
          </a:xfrm>
          <a:prstGeom prst="rect">
            <a:avLst/>
          </a:prstGeom>
        </p:spPr>
      </p:pic>
      <p:pic>
        <p:nvPicPr>
          <p:cNvPr id="13" name="Picture 12" descr="A yellow circle with white text and a person with arms raised&#10;&#10;Description automatically generated">
            <a:extLst>
              <a:ext uri="{FF2B5EF4-FFF2-40B4-BE49-F238E27FC236}">
                <a16:creationId xmlns:a16="http://schemas.microsoft.com/office/drawing/2014/main" id="{8168A415-9099-8ABA-D007-D048BE3D82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9832" y="690082"/>
            <a:ext cx="1622159" cy="1622159"/>
          </a:xfrm>
          <a:prstGeom prst="ellipse">
            <a:avLst/>
          </a:prstGeom>
          <a:ln w="3175">
            <a:noFill/>
          </a:ln>
        </p:spPr>
      </p:pic>
      <p:pic>
        <p:nvPicPr>
          <p:cNvPr id="14" name="Picture 13" descr="A blue circle with a hand and text&#10;&#10;Description automatically generated">
            <a:extLst>
              <a:ext uri="{FF2B5EF4-FFF2-40B4-BE49-F238E27FC236}">
                <a16:creationId xmlns:a16="http://schemas.microsoft.com/office/drawing/2014/main" id="{A03F5522-9F14-7D02-9243-4E628301ED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8295" y="690082"/>
            <a:ext cx="1620000" cy="1620000"/>
          </a:xfrm>
          <a:prstGeom prst="ellipse">
            <a:avLst/>
          </a:prstGeom>
          <a:ln w="3175">
            <a:noFill/>
          </a:ln>
        </p:spPr>
      </p:pic>
      <p:pic>
        <p:nvPicPr>
          <p:cNvPr id="15" name="Picture 14" descr="A blue circle with white text and two white speech bubbles&#10;&#10;Description automatically generated">
            <a:extLst>
              <a:ext uri="{FF2B5EF4-FFF2-40B4-BE49-F238E27FC236}">
                <a16:creationId xmlns:a16="http://schemas.microsoft.com/office/drawing/2014/main" id="{94176895-1148-E5EB-FABB-448A2AC395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9488" y="4538876"/>
            <a:ext cx="1620000" cy="1620000"/>
          </a:xfrm>
          <a:prstGeom prst="ellipse">
            <a:avLst/>
          </a:prstGeom>
          <a:ln w="3175">
            <a:noFill/>
          </a:ln>
        </p:spPr>
      </p:pic>
      <p:pic>
        <p:nvPicPr>
          <p:cNvPr id="16" name="Picture 15" descr="A yellow circle with white text&#10;&#10;Description automatically generated">
            <a:extLst>
              <a:ext uri="{FF2B5EF4-FFF2-40B4-BE49-F238E27FC236}">
                <a16:creationId xmlns:a16="http://schemas.microsoft.com/office/drawing/2014/main" id="{D13C1973-8A1B-8255-24E5-4E69054ABD0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172" y="4538876"/>
            <a:ext cx="1620000" cy="1620000"/>
          </a:xfrm>
          <a:prstGeom prst="ellipse">
            <a:avLst/>
          </a:prstGeom>
          <a:ln w="3175">
            <a:noFill/>
          </a:ln>
        </p:spPr>
      </p:pic>
      <p:pic>
        <p:nvPicPr>
          <p:cNvPr id="17" name="Picture 16" descr="A blue circle with a red heart and white text&#10;&#10;Description automatically generated">
            <a:extLst>
              <a:ext uri="{FF2B5EF4-FFF2-40B4-BE49-F238E27FC236}">
                <a16:creationId xmlns:a16="http://schemas.microsoft.com/office/drawing/2014/main" id="{E86BD081-DAE5-016F-D3A8-037E3C42725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28" y="690082"/>
            <a:ext cx="1620000" cy="1620000"/>
          </a:xfrm>
          <a:prstGeom prst="ellipse">
            <a:avLst/>
          </a:prstGeom>
          <a:ln w="3175">
            <a:noFill/>
          </a:ln>
        </p:spPr>
      </p:pic>
      <p:pic>
        <p:nvPicPr>
          <p:cNvPr id="18" name="Picture 17" descr="A blue circle with a white outline of a muscular arm and text&#10;&#10;Description automatically generated">
            <a:extLst>
              <a:ext uri="{FF2B5EF4-FFF2-40B4-BE49-F238E27FC236}">
                <a16:creationId xmlns:a16="http://schemas.microsoft.com/office/drawing/2014/main" id="{E8E14DA2-1B47-5CF3-507A-95A26909B91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729" y="4538876"/>
            <a:ext cx="1620000" cy="1620000"/>
          </a:xfrm>
          <a:prstGeom prst="ellipse">
            <a:avLst/>
          </a:prstGeom>
          <a:ln w="3175">
            <a:noFill/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AA9E816-B1B3-ACB9-5AF6-2AE263B57FCE}"/>
              </a:ext>
            </a:extLst>
          </p:cNvPr>
          <p:cNvSpPr txBox="1"/>
          <p:nvPr userDrawn="1"/>
        </p:nvSpPr>
        <p:spPr bwMode="gray">
          <a:xfrm>
            <a:off x="395544" y="4068954"/>
            <a:ext cx="1970083" cy="5840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F36D66"/>
                </a:solidFill>
              </a:rPr>
              <a:t>VERBONDENHEI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4653898-05CC-1C96-DD42-8E11871BB8BB}"/>
              </a:ext>
            </a:extLst>
          </p:cNvPr>
          <p:cNvSpPr txBox="1"/>
          <p:nvPr userDrawn="1"/>
        </p:nvSpPr>
        <p:spPr bwMode="gray">
          <a:xfrm>
            <a:off x="2720131" y="4047288"/>
            <a:ext cx="1970083" cy="3136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FBEF71"/>
                </a:solidFill>
              </a:rPr>
              <a:t>RESPEC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85B2806-DB20-A8DD-FD60-4D06EFC2B057}"/>
              </a:ext>
            </a:extLst>
          </p:cNvPr>
          <p:cNvSpPr txBox="1"/>
          <p:nvPr userDrawn="1"/>
        </p:nvSpPr>
        <p:spPr bwMode="gray">
          <a:xfrm>
            <a:off x="5083381" y="4056564"/>
            <a:ext cx="1970083" cy="3136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208BCB"/>
                </a:solidFill>
              </a:rPr>
              <a:t>VERTROUWE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D3818B4-3F4E-3CE1-1BB3-93C8156B292B}"/>
              </a:ext>
            </a:extLst>
          </p:cNvPr>
          <p:cNvSpPr/>
          <p:nvPr userDrawn="1"/>
        </p:nvSpPr>
        <p:spPr bwMode="gray">
          <a:xfrm>
            <a:off x="7326393" y="332816"/>
            <a:ext cx="2232000" cy="6192368"/>
          </a:xfrm>
          <a:prstGeom prst="rect">
            <a:avLst/>
          </a:prstGeom>
          <a:solidFill>
            <a:srgbClr val="168BC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3AA62774-013D-7A8C-5714-47B8BB71D2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1335" t="33512" r="62111" b="38338"/>
          <a:stretch/>
        </p:blipFill>
        <p:spPr>
          <a:xfrm>
            <a:off x="7501266" y="2542281"/>
            <a:ext cx="1944000" cy="1512000"/>
          </a:xfrm>
          <a:prstGeom prst="rect">
            <a:avLst/>
          </a:prstGeom>
        </p:spPr>
      </p:pic>
      <p:pic>
        <p:nvPicPr>
          <p:cNvPr id="24" name="Picture 23" descr="A blue circle with white text and blue and white text&#10;&#10;Description automatically generated">
            <a:extLst>
              <a:ext uri="{FF2B5EF4-FFF2-40B4-BE49-F238E27FC236}">
                <a16:creationId xmlns:a16="http://schemas.microsoft.com/office/drawing/2014/main" id="{0CE294A2-5348-E3E1-2938-B7F3E1E8089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4599" y="690082"/>
            <a:ext cx="1620000" cy="1620000"/>
          </a:xfrm>
          <a:prstGeom prst="ellipse">
            <a:avLst/>
          </a:prstGeom>
          <a:ln w="3175">
            <a:noFill/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8C059E3-0E4E-7F96-9D8E-0EC675E76681}"/>
              </a:ext>
            </a:extLst>
          </p:cNvPr>
          <p:cNvSpPr txBox="1"/>
          <p:nvPr userDrawn="1"/>
        </p:nvSpPr>
        <p:spPr bwMode="gray">
          <a:xfrm>
            <a:off x="7401100" y="4068770"/>
            <a:ext cx="1970083" cy="5840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0D1C3B"/>
                </a:solidFill>
              </a:rPr>
              <a:t>NUCHTERE HOUDING</a:t>
            </a:r>
          </a:p>
        </p:txBody>
      </p:sp>
      <p:pic>
        <p:nvPicPr>
          <p:cNvPr id="26" name="Picture 3">
            <a:extLst>
              <a:ext uri="{FF2B5EF4-FFF2-40B4-BE49-F238E27FC236}">
                <a16:creationId xmlns:a16="http://schemas.microsoft.com/office/drawing/2014/main" id="{05EE3BEF-996F-2E7D-11AB-3B49EF3AF2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6141" y="4538876"/>
            <a:ext cx="1620000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BB4A9B42-59C1-C663-67A4-BAA2E1A1F5B0}"/>
              </a:ext>
            </a:extLst>
          </p:cNvPr>
          <p:cNvSpPr/>
          <p:nvPr userDrawn="1"/>
        </p:nvSpPr>
        <p:spPr bwMode="gray">
          <a:xfrm>
            <a:off x="9680526" y="332816"/>
            <a:ext cx="2232000" cy="6192368"/>
          </a:xfrm>
          <a:prstGeom prst="rect">
            <a:avLst/>
          </a:prstGeom>
          <a:solidFill>
            <a:srgbClr val="FFF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DB346EC-B420-D9EE-DFE1-39720E7CBC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44" t="33512" r="81289" b="38338"/>
          <a:stretch/>
        </p:blipFill>
        <p:spPr>
          <a:xfrm>
            <a:off x="9778609" y="2545705"/>
            <a:ext cx="2016000" cy="1512000"/>
          </a:xfrm>
          <a:prstGeom prst="rect">
            <a:avLst/>
          </a:prstGeom>
        </p:spPr>
      </p:pic>
      <p:pic>
        <p:nvPicPr>
          <p:cNvPr id="29" name="Picture 28" descr="A red circle with a blue rocket on it&#10;&#10;Description automatically generated">
            <a:extLst>
              <a:ext uri="{FF2B5EF4-FFF2-40B4-BE49-F238E27FC236}">
                <a16:creationId xmlns:a16="http://schemas.microsoft.com/office/drawing/2014/main" id="{63BA5EA4-5433-A46F-C615-CF77AFB8143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609" y="4538876"/>
            <a:ext cx="1620000" cy="1620000"/>
          </a:xfrm>
          <a:prstGeom prst="ellipse">
            <a:avLst/>
          </a:prstGeom>
          <a:ln w="3175">
            <a:noFill/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E9E3899-5194-AD3D-8C13-DFA1EE5D020A}"/>
              </a:ext>
            </a:extLst>
          </p:cNvPr>
          <p:cNvSpPr txBox="1"/>
          <p:nvPr userDrawn="1"/>
        </p:nvSpPr>
        <p:spPr bwMode="gray">
          <a:xfrm>
            <a:off x="9785861" y="4068771"/>
            <a:ext cx="1970083" cy="5840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FDC410"/>
                </a:solidFill>
              </a:rPr>
              <a:t>RESULTAATGERICHT</a:t>
            </a:r>
          </a:p>
        </p:txBody>
      </p:sp>
      <p:pic>
        <p:nvPicPr>
          <p:cNvPr id="31" name="Picture 30" descr="A red circle with white text and lightning bolt&#10;&#10;Description automatically generated">
            <a:extLst>
              <a:ext uri="{FF2B5EF4-FFF2-40B4-BE49-F238E27FC236}">
                <a16:creationId xmlns:a16="http://schemas.microsoft.com/office/drawing/2014/main" id="{B9980A0B-4789-B991-994E-6419BB4B066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0902" y="690082"/>
            <a:ext cx="162000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85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33075" y="3356992"/>
            <a:ext cx="12192000" cy="3501008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80000" y="4176632"/>
            <a:ext cx="8856000" cy="576000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noProof="0"/>
              <a:t>Presentatietitel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76000" y="5035536"/>
            <a:ext cx="950400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nl-NL" noProof="0"/>
              <a:t>Ondertitel van de presentatie (op 1-2 regels)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nl-NL" noProof="0"/>
              <a:t>Locatie, </a:t>
            </a:r>
            <a:r>
              <a:rPr lang="nl-NL" noProof="0" err="1"/>
              <a:t>xx.maand.xxxx</a:t>
            </a:r>
            <a:endParaRPr lang="nl-NL" noProof="0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0476DF1-9CDC-44D7-8634-DE84BA8EDCB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1"/>
            <a:ext cx="12192000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30545FE-C70C-41B3-8699-36419E1D18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288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s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ED399-89C9-1E3C-99A1-2412C6C360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5B81922-B41B-0915-C713-4E399CFB36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XX maand 202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128081-0235-7F30-9425-9908323A1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DF8D46-3901-71E0-9955-F42947FF9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2DEED12-D855-874B-51DB-8D1B218EFD16}"/>
              </a:ext>
            </a:extLst>
          </p:cNvPr>
          <p:cNvSpPr/>
          <p:nvPr userDrawn="1"/>
        </p:nvSpPr>
        <p:spPr bwMode="gray">
          <a:xfrm>
            <a:off x="566399" y="4538876"/>
            <a:ext cx="1616330" cy="1584000"/>
          </a:xfrm>
          <a:prstGeom prst="ellipse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E916D7-FB38-7801-050F-45AE790A2B9A}"/>
              </a:ext>
            </a:extLst>
          </p:cNvPr>
          <p:cNvSpPr/>
          <p:nvPr userDrawn="1"/>
        </p:nvSpPr>
        <p:spPr bwMode="gray">
          <a:xfrm>
            <a:off x="264000" y="332816"/>
            <a:ext cx="2232000" cy="6192368"/>
          </a:xfrm>
          <a:prstGeom prst="rect">
            <a:avLst/>
          </a:prstGeom>
          <a:solidFill>
            <a:srgbClr val="E51E2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FAF94F2-5D7A-6765-B792-2C7BF0D933A4}"/>
              </a:ext>
            </a:extLst>
          </p:cNvPr>
          <p:cNvSpPr/>
          <p:nvPr userDrawn="1"/>
        </p:nvSpPr>
        <p:spPr bwMode="gray">
          <a:xfrm>
            <a:off x="2618131" y="332816"/>
            <a:ext cx="2232000" cy="6192368"/>
          </a:xfrm>
          <a:prstGeom prst="rect">
            <a:avLst/>
          </a:prstGeom>
          <a:solidFill>
            <a:srgbClr val="FFC50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49F7D7-E219-4283-E3DD-E96732A8EB0B}"/>
              </a:ext>
            </a:extLst>
          </p:cNvPr>
          <p:cNvSpPr/>
          <p:nvPr userDrawn="1"/>
        </p:nvSpPr>
        <p:spPr bwMode="gray">
          <a:xfrm>
            <a:off x="4972262" y="332816"/>
            <a:ext cx="2232000" cy="6192368"/>
          </a:xfrm>
          <a:prstGeom prst="rect">
            <a:avLst/>
          </a:prstGeom>
          <a:solidFill>
            <a:srgbClr val="0B173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6683BD-D966-582E-3CED-70B2265FF7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0190" t="33512" r="43256" b="38338"/>
          <a:stretch/>
        </p:blipFill>
        <p:spPr>
          <a:xfrm>
            <a:off x="408000" y="2542465"/>
            <a:ext cx="1944000" cy="1512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BEB4CB-A7F7-15D6-13D8-B759EFD18D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9125" t="33512" r="23707" b="38338"/>
          <a:stretch/>
        </p:blipFill>
        <p:spPr>
          <a:xfrm>
            <a:off x="2735544" y="2542465"/>
            <a:ext cx="2016000" cy="1512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E3B5FB-0BBD-3557-D429-8D048ED072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8817" t="33512" r="4629" b="38338"/>
          <a:stretch/>
        </p:blipFill>
        <p:spPr>
          <a:xfrm>
            <a:off x="5135088" y="2542465"/>
            <a:ext cx="1944000" cy="1512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D67764A-85A7-D9B9-D506-08BD1D165DC4}"/>
              </a:ext>
            </a:extLst>
          </p:cNvPr>
          <p:cNvSpPr txBox="1"/>
          <p:nvPr userDrawn="1"/>
        </p:nvSpPr>
        <p:spPr bwMode="gray">
          <a:xfrm>
            <a:off x="395544" y="4068954"/>
            <a:ext cx="1970083" cy="5840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F36D66"/>
                </a:solidFill>
              </a:rPr>
              <a:t>COLLECTIF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65032D-0929-7E36-3AB0-4F40AA2510B8}"/>
              </a:ext>
            </a:extLst>
          </p:cNvPr>
          <p:cNvSpPr txBox="1"/>
          <p:nvPr userDrawn="1"/>
        </p:nvSpPr>
        <p:spPr bwMode="gray">
          <a:xfrm>
            <a:off x="2735544" y="4081835"/>
            <a:ext cx="1970083" cy="3136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FBEF71"/>
                </a:solidFill>
              </a:rPr>
              <a:t>RESPEC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C47112-FC0B-AB02-2BFD-643E7E9BFF2B}"/>
              </a:ext>
            </a:extLst>
          </p:cNvPr>
          <p:cNvSpPr txBox="1"/>
          <p:nvPr userDrawn="1"/>
        </p:nvSpPr>
        <p:spPr bwMode="gray">
          <a:xfrm>
            <a:off x="5083381" y="4056564"/>
            <a:ext cx="1970083" cy="3136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208BCB"/>
                </a:solidFill>
              </a:rPr>
              <a:t>CONFIAN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1860C21-EC8E-7E4F-DC31-ABEBEC07BE0E}"/>
              </a:ext>
            </a:extLst>
          </p:cNvPr>
          <p:cNvSpPr/>
          <p:nvPr userDrawn="1"/>
        </p:nvSpPr>
        <p:spPr bwMode="gray">
          <a:xfrm>
            <a:off x="7326393" y="332816"/>
            <a:ext cx="2232000" cy="6192368"/>
          </a:xfrm>
          <a:prstGeom prst="rect">
            <a:avLst/>
          </a:prstGeom>
          <a:solidFill>
            <a:srgbClr val="168BC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9099A4E-2814-E1E2-5492-558692EBD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1335" t="33512" r="62111" b="38338"/>
          <a:stretch/>
        </p:blipFill>
        <p:spPr>
          <a:xfrm>
            <a:off x="7501266" y="2542281"/>
            <a:ext cx="1944000" cy="1512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16217AA-4CAA-238E-5A11-C9320157CA87}"/>
              </a:ext>
            </a:extLst>
          </p:cNvPr>
          <p:cNvSpPr txBox="1"/>
          <p:nvPr userDrawn="1"/>
        </p:nvSpPr>
        <p:spPr bwMode="gray">
          <a:xfrm>
            <a:off x="7401100" y="4068770"/>
            <a:ext cx="1970083" cy="5840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0D1C3B"/>
                </a:solidFill>
              </a:rPr>
              <a:t>PROXIMITÉ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468C37E-D886-B868-8BB8-21AABC1AECAC}"/>
              </a:ext>
            </a:extLst>
          </p:cNvPr>
          <p:cNvSpPr/>
          <p:nvPr userDrawn="1"/>
        </p:nvSpPr>
        <p:spPr bwMode="gray">
          <a:xfrm>
            <a:off x="9680526" y="332816"/>
            <a:ext cx="2232000" cy="6192368"/>
          </a:xfrm>
          <a:prstGeom prst="rect">
            <a:avLst/>
          </a:prstGeom>
          <a:solidFill>
            <a:srgbClr val="FFF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7ACA723-A6DB-7854-770A-22713DFEF1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44" t="33512" r="81289" b="38338"/>
          <a:stretch/>
        </p:blipFill>
        <p:spPr>
          <a:xfrm>
            <a:off x="9778609" y="2545705"/>
            <a:ext cx="2016000" cy="1512000"/>
          </a:xfrm>
          <a:prstGeom prst="rect">
            <a:avLst/>
          </a:prstGeom>
        </p:spPr>
      </p:pic>
      <p:pic>
        <p:nvPicPr>
          <p:cNvPr id="21" name="Picture 20" descr="A red circle with a blue rocket on it&#10;&#10;Description automatically generated">
            <a:extLst>
              <a:ext uri="{FF2B5EF4-FFF2-40B4-BE49-F238E27FC236}">
                <a16:creationId xmlns:a16="http://schemas.microsoft.com/office/drawing/2014/main" id="{878E9FD3-3A47-463F-E9CC-3EB72646F4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609" y="4545908"/>
            <a:ext cx="1620000" cy="1620000"/>
          </a:xfrm>
          <a:prstGeom prst="ellipse">
            <a:avLst/>
          </a:prstGeom>
          <a:ln w="3175">
            <a:noFill/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0981F27-2579-B972-6B1C-B43C6A275CBD}"/>
              </a:ext>
            </a:extLst>
          </p:cNvPr>
          <p:cNvSpPr txBox="1"/>
          <p:nvPr userDrawn="1"/>
        </p:nvSpPr>
        <p:spPr bwMode="gray">
          <a:xfrm>
            <a:off x="9785861" y="4068771"/>
            <a:ext cx="1970083" cy="5840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FDC410"/>
                </a:solidFill>
              </a:rPr>
              <a:t>PERFORMANCE</a:t>
            </a:r>
          </a:p>
        </p:txBody>
      </p:sp>
      <p:pic>
        <p:nvPicPr>
          <p:cNvPr id="23" name="Picture 22" descr="A blue circle with a red heart and white text&#10;&#10;Description automatically generated">
            <a:extLst>
              <a:ext uri="{FF2B5EF4-FFF2-40B4-BE49-F238E27FC236}">
                <a16:creationId xmlns:a16="http://schemas.microsoft.com/office/drawing/2014/main" id="{C0668B12-EE45-030B-2A1B-B2926EEDA5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901" y="697937"/>
            <a:ext cx="1620000" cy="1620000"/>
          </a:xfrm>
          <a:prstGeom prst="rect">
            <a:avLst/>
          </a:prstGeom>
        </p:spPr>
      </p:pic>
      <p:pic>
        <p:nvPicPr>
          <p:cNvPr id="24" name="Picture 23" descr="A blue circle with white text and a white arm and a black background&#10;&#10;Description automatically generated">
            <a:extLst>
              <a:ext uri="{FF2B5EF4-FFF2-40B4-BE49-F238E27FC236}">
                <a16:creationId xmlns:a16="http://schemas.microsoft.com/office/drawing/2014/main" id="{EFE809F6-D97D-8904-D6F7-8E8F6A6D592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391" y="4575652"/>
            <a:ext cx="1620000" cy="1620000"/>
          </a:xfrm>
          <a:prstGeom prst="rect">
            <a:avLst/>
          </a:prstGeom>
        </p:spPr>
      </p:pic>
      <p:pic>
        <p:nvPicPr>
          <p:cNvPr id="25" name="Picture 24" descr="A blue circle with white text and blue and white text&#10;&#10;Description automatically generated">
            <a:extLst>
              <a:ext uri="{FF2B5EF4-FFF2-40B4-BE49-F238E27FC236}">
                <a16:creationId xmlns:a16="http://schemas.microsoft.com/office/drawing/2014/main" id="{FFE84F60-D4A9-3F78-B00E-D8AF1314864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049" y="668840"/>
            <a:ext cx="1620000" cy="1620000"/>
          </a:xfrm>
          <a:prstGeom prst="rect">
            <a:avLst/>
          </a:prstGeom>
        </p:spPr>
      </p:pic>
      <p:pic>
        <p:nvPicPr>
          <p:cNvPr id="26" name="Picture 25" descr="A blue circle with white text and two white speech bubbles&#10;&#10;Description automatically generated">
            <a:extLst>
              <a:ext uri="{FF2B5EF4-FFF2-40B4-BE49-F238E27FC236}">
                <a16:creationId xmlns:a16="http://schemas.microsoft.com/office/drawing/2014/main" id="{240B845A-9FDC-1555-F3C2-91760B39ACD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6001" y="4575652"/>
            <a:ext cx="1620000" cy="1620000"/>
          </a:xfrm>
          <a:prstGeom prst="rect">
            <a:avLst/>
          </a:prstGeom>
        </p:spPr>
      </p:pic>
      <p:pic>
        <p:nvPicPr>
          <p:cNvPr id="27" name="Picture 26" descr="A yellow circle with white text and a person with one arm raised&#10;&#10;Description automatically generated">
            <a:extLst>
              <a:ext uri="{FF2B5EF4-FFF2-40B4-BE49-F238E27FC236}">
                <a16:creationId xmlns:a16="http://schemas.microsoft.com/office/drawing/2014/main" id="{FDBFC8D2-9E98-6C30-A91F-FC33EC1BFEE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3950" y="697937"/>
            <a:ext cx="1620000" cy="1620000"/>
          </a:xfrm>
          <a:prstGeom prst="rect">
            <a:avLst/>
          </a:prstGeom>
        </p:spPr>
      </p:pic>
      <p:pic>
        <p:nvPicPr>
          <p:cNvPr id="28" name="Picture 27" descr="A yellow circle with white text&#10;&#10;Description automatically generated">
            <a:extLst>
              <a:ext uri="{FF2B5EF4-FFF2-40B4-BE49-F238E27FC236}">
                <a16:creationId xmlns:a16="http://schemas.microsoft.com/office/drawing/2014/main" id="{99FEB63E-EF6E-5989-B3BB-546F521CCAF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0696" y="4581158"/>
            <a:ext cx="1620000" cy="1620000"/>
          </a:xfrm>
          <a:prstGeom prst="rect">
            <a:avLst/>
          </a:prstGeom>
        </p:spPr>
      </p:pic>
      <p:pic>
        <p:nvPicPr>
          <p:cNvPr id="29" name="Picture 28" descr="A blue circle with a hand and text&#10;&#10;Description automatically generated">
            <a:extLst>
              <a:ext uri="{FF2B5EF4-FFF2-40B4-BE49-F238E27FC236}">
                <a16:creationId xmlns:a16="http://schemas.microsoft.com/office/drawing/2014/main" id="{A59CABAC-D69E-2778-E1C2-023A743C764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999" y="697937"/>
            <a:ext cx="1620000" cy="1620000"/>
          </a:xfrm>
          <a:prstGeom prst="rect">
            <a:avLst/>
          </a:prstGeom>
        </p:spPr>
      </p:pic>
      <p:pic>
        <p:nvPicPr>
          <p:cNvPr id="30" name="Picture 29" descr="A blue circle with white text and a key&#10;&#10;Description automatically generated">
            <a:extLst>
              <a:ext uri="{FF2B5EF4-FFF2-40B4-BE49-F238E27FC236}">
                <a16:creationId xmlns:a16="http://schemas.microsoft.com/office/drawing/2014/main" id="{229DF0F6-B041-AFD2-06EC-22E5F81AF65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1306" y="4575652"/>
            <a:ext cx="1620000" cy="1620000"/>
          </a:xfrm>
          <a:prstGeom prst="rect">
            <a:avLst/>
          </a:prstGeom>
        </p:spPr>
      </p:pic>
      <p:pic>
        <p:nvPicPr>
          <p:cNvPr id="31" name="Picture 30" descr="A red circle with white text and lightning bolt&#10;&#10;Description automatically generated">
            <a:extLst>
              <a:ext uri="{FF2B5EF4-FFF2-40B4-BE49-F238E27FC236}">
                <a16:creationId xmlns:a16="http://schemas.microsoft.com/office/drawing/2014/main" id="{84E75488-1FD1-088C-D1A9-E091A3D0411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0099" y="703790"/>
            <a:ext cx="162000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6492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s 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43DED7-0D1E-4E16-6FE0-3325EC6A6C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CFEB2E-8932-EF4B-52DE-C6BDE5D0C5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XX maand 202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EB58B5-3620-93FF-4F1B-5912603FA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FA0998-B0B0-5FF6-FA2B-901CD1BDB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EA05E6F-29B9-955C-D08E-733EA1953641}"/>
              </a:ext>
            </a:extLst>
          </p:cNvPr>
          <p:cNvSpPr/>
          <p:nvPr userDrawn="1"/>
        </p:nvSpPr>
        <p:spPr bwMode="gray">
          <a:xfrm>
            <a:off x="566399" y="4538876"/>
            <a:ext cx="1616330" cy="1584000"/>
          </a:xfrm>
          <a:prstGeom prst="ellipse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13B13A-88B4-10DD-09ED-37B47EF116DE}"/>
              </a:ext>
            </a:extLst>
          </p:cNvPr>
          <p:cNvSpPr/>
          <p:nvPr userDrawn="1"/>
        </p:nvSpPr>
        <p:spPr bwMode="gray">
          <a:xfrm>
            <a:off x="9746000" y="332816"/>
            <a:ext cx="2232000" cy="6192368"/>
          </a:xfrm>
          <a:prstGeom prst="rect">
            <a:avLst/>
          </a:prstGeom>
          <a:solidFill>
            <a:srgbClr val="FFF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53F734-AB00-893F-691A-46151901A7E2}"/>
              </a:ext>
            </a:extLst>
          </p:cNvPr>
          <p:cNvSpPr/>
          <p:nvPr userDrawn="1"/>
        </p:nvSpPr>
        <p:spPr bwMode="gray">
          <a:xfrm>
            <a:off x="7375500" y="332816"/>
            <a:ext cx="2232000" cy="6192368"/>
          </a:xfrm>
          <a:prstGeom prst="rect">
            <a:avLst/>
          </a:prstGeom>
          <a:solidFill>
            <a:srgbClr val="168BCC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A894BC1-E539-09DB-D1EC-DDA9A705A656}"/>
              </a:ext>
            </a:extLst>
          </p:cNvPr>
          <p:cNvSpPr/>
          <p:nvPr userDrawn="1"/>
        </p:nvSpPr>
        <p:spPr bwMode="gray">
          <a:xfrm>
            <a:off x="264000" y="332816"/>
            <a:ext cx="2232000" cy="6192368"/>
          </a:xfrm>
          <a:prstGeom prst="rect">
            <a:avLst/>
          </a:prstGeom>
          <a:solidFill>
            <a:srgbClr val="E51E2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9DF48F-D781-7DC6-0B9E-1451A92C8FAD}"/>
              </a:ext>
            </a:extLst>
          </p:cNvPr>
          <p:cNvSpPr/>
          <p:nvPr userDrawn="1"/>
        </p:nvSpPr>
        <p:spPr bwMode="gray">
          <a:xfrm>
            <a:off x="2634500" y="332816"/>
            <a:ext cx="2232000" cy="6192368"/>
          </a:xfrm>
          <a:prstGeom prst="rect">
            <a:avLst/>
          </a:prstGeom>
          <a:solidFill>
            <a:srgbClr val="FFC50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6DC8E2-3FE4-C0C0-E049-0D67E6674BB2}"/>
              </a:ext>
            </a:extLst>
          </p:cNvPr>
          <p:cNvSpPr/>
          <p:nvPr userDrawn="1"/>
        </p:nvSpPr>
        <p:spPr bwMode="gray">
          <a:xfrm>
            <a:off x="5005000" y="332816"/>
            <a:ext cx="2232000" cy="6192368"/>
          </a:xfrm>
          <a:prstGeom prst="rect">
            <a:avLst/>
          </a:prstGeom>
          <a:solidFill>
            <a:srgbClr val="0B173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0C53C3-B5D5-B096-8B2A-E8069587F5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44" t="33512" r="81289" b="38338"/>
          <a:stretch/>
        </p:blipFill>
        <p:spPr>
          <a:xfrm>
            <a:off x="9844083" y="2545705"/>
            <a:ext cx="2016000" cy="1512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EC3DAF3-D89B-B1D1-216D-559F167E73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1335" t="33512" r="62111" b="38338"/>
          <a:stretch/>
        </p:blipFill>
        <p:spPr>
          <a:xfrm>
            <a:off x="7478794" y="2542281"/>
            <a:ext cx="1944000" cy="1512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126ECE7-400B-BBC0-9F49-0095AF5D5F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0190" t="33512" r="43256" b="38338"/>
          <a:stretch/>
        </p:blipFill>
        <p:spPr>
          <a:xfrm>
            <a:off x="408000" y="2542465"/>
            <a:ext cx="1944000" cy="1512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A3F5C06-DBC5-CBDF-9D38-07531139DF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9125" t="33512" r="23707" b="38338"/>
          <a:stretch/>
        </p:blipFill>
        <p:spPr>
          <a:xfrm>
            <a:off x="2713376" y="2542465"/>
            <a:ext cx="2016000" cy="1512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61EE8EE-378D-C047-6E9A-0FDEA06A1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8817" t="33512" r="4629" b="38338"/>
          <a:stretch/>
        </p:blipFill>
        <p:spPr>
          <a:xfrm>
            <a:off x="5137940" y="2542465"/>
            <a:ext cx="1944000" cy="1512000"/>
          </a:xfrm>
          <a:prstGeom prst="rect">
            <a:avLst/>
          </a:prstGeom>
        </p:spPr>
      </p:pic>
      <p:pic>
        <p:nvPicPr>
          <p:cNvPr id="17" name="Picture 16" descr="A red circle with a blue rocket on it&#10;&#10;Description automatically generated">
            <a:extLst>
              <a:ext uri="{FF2B5EF4-FFF2-40B4-BE49-F238E27FC236}">
                <a16:creationId xmlns:a16="http://schemas.microsoft.com/office/drawing/2014/main" id="{545D1A88-47D3-036E-E40E-4A50F99D75F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341" y="4551645"/>
            <a:ext cx="1620000" cy="1620000"/>
          </a:xfrm>
          <a:prstGeom prst="ellipse">
            <a:avLst/>
          </a:prstGeom>
          <a:ln w="3175">
            <a:noFill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1FF245B-358D-AD17-1DCA-F27184E89C06}"/>
              </a:ext>
            </a:extLst>
          </p:cNvPr>
          <p:cNvSpPr txBox="1"/>
          <p:nvPr userDrawn="1"/>
        </p:nvSpPr>
        <p:spPr bwMode="gray">
          <a:xfrm>
            <a:off x="9851335" y="4068771"/>
            <a:ext cx="1970083" cy="5840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FDC410"/>
                </a:solidFill>
              </a:rPr>
              <a:t>PERFORMAN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14DA5DB-D698-28B1-A00C-BDE9439B78BF}"/>
              </a:ext>
            </a:extLst>
          </p:cNvPr>
          <p:cNvSpPr txBox="1"/>
          <p:nvPr userDrawn="1"/>
        </p:nvSpPr>
        <p:spPr bwMode="gray">
          <a:xfrm>
            <a:off x="7378628" y="4068770"/>
            <a:ext cx="1970083" cy="5840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0D1C3B"/>
                </a:solidFill>
              </a:rPr>
              <a:t>DOWN-TO-EARTH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74FD0B-BCB9-BF2A-05A8-9A47CD744328}"/>
              </a:ext>
            </a:extLst>
          </p:cNvPr>
          <p:cNvSpPr txBox="1"/>
          <p:nvPr userDrawn="1"/>
        </p:nvSpPr>
        <p:spPr bwMode="gray">
          <a:xfrm>
            <a:off x="395544" y="4068954"/>
            <a:ext cx="1970083" cy="5840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F36D66"/>
                </a:solidFill>
              </a:rPr>
              <a:t>BELONG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6D7C42-0CCB-07AC-E3D8-58F9672EB027}"/>
              </a:ext>
            </a:extLst>
          </p:cNvPr>
          <p:cNvSpPr txBox="1"/>
          <p:nvPr userDrawn="1"/>
        </p:nvSpPr>
        <p:spPr bwMode="gray">
          <a:xfrm>
            <a:off x="2697963" y="4047288"/>
            <a:ext cx="1970083" cy="3136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FBEF71"/>
                </a:solidFill>
              </a:rPr>
              <a:t>RESPE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FDB7E90-456B-EFF8-30FB-AC8B412AA12B}"/>
              </a:ext>
            </a:extLst>
          </p:cNvPr>
          <p:cNvSpPr txBox="1"/>
          <p:nvPr userDrawn="1"/>
        </p:nvSpPr>
        <p:spPr bwMode="gray">
          <a:xfrm>
            <a:off x="5086233" y="4056564"/>
            <a:ext cx="1970083" cy="3136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sz="1400">
                <a:solidFill>
                  <a:srgbClr val="208BCB"/>
                </a:solidFill>
              </a:rPr>
              <a:t>TRUST</a:t>
            </a:r>
          </a:p>
        </p:txBody>
      </p:sp>
      <p:pic>
        <p:nvPicPr>
          <p:cNvPr id="23" name="Picture 22" descr="A blue circle with white text and blue and white text&#10;&#10;Description automatically generated">
            <a:extLst>
              <a:ext uri="{FF2B5EF4-FFF2-40B4-BE49-F238E27FC236}">
                <a16:creationId xmlns:a16="http://schemas.microsoft.com/office/drawing/2014/main" id="{4E5A3CE3-B379-1873-B99C-A17A91707F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9335" y="689898"/>
            <a:ext cx="1620000" cy="1620000"/>
          </a:xfrm>
          <a:prstGeom prst="rect">
            <a:avLst/>
          </a:prstGeom>
        </p:spPr>
      </p:pic>
      <p:pic>
        <p:nvPicPr>
          <p:cNvPr id="24" name="Picture 23" descr="A blue circle with a red heart and white text&#10;&#10;Description automatically generated">
            <a:extLst>
              <a:ext uri="{FF2B5EF4-FFF2-40B4-BE49-F238E27FC236}">
                <a16:creationId xmlns:a16="http://schemas.microsoft.com/office/drawing/2014/main" id="{045120B4-D5E9-0D2D-AB09-DEE4463FE5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65" y="696504"/>
            <a:ext cx="1620000" cy="1620000"/>
          </a:xfrm>
          <a:prstGeom prst="rect">
            <a:avLst/>
          </a:prstGeom>
        </p:spPr>
      </p:pic>
      <p:pic>
        <p:nvPicPr>
          <p:cNvPr id="25" name="Picture 24" descr="A blue circle with a white outline of a muscular arm and blue text&#10;&#10;Description automatically generated">
            <a:extLst>
              <a:ext uri="{FF2B5EF4-FFF2-40B4-BE49-F238E27FC236}">
                <a16:creationId xmlns:a16="http://schemas.microsoft.com/office/drawing/2014/main" id="{7EB5EF77-8774-AA33-703B-224DA5CBBD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65" y="4538876"/>
            <a:ext cx="1620000" cy="1620000"/>
          </a:xfrm>
          <a:prstGeom prst="rect">
            <a:avLst/>
          </a:prstGeom>
        </p:spPr>
      </p:pic>
      <p:pic>
        <p:nvPicPr>
          <p:cNvPr id="26" name="Picture 25" descr="A yellow circle with white text and a person with one hand up&#10;&#10;Description automatically generated">
            <a:extLst>
              <a:ext uri="{FF2B5EF4-FFF2-40B4-BE49-F238E27FC236}">
                <a16:creationId xmlns:a16="http://schemas.microsoft.com/office/drawing/2014/main" id="{E1FB1DBF-D3B3-09BE-CA29-AEE5C80B9B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004" y="690082"/>
            <a:ext cx="1620000" cy="1620000"/>
          </a:xfrm>
          <a:prstGeom prst="rect">
            <a:avLst/>
          </a:prstGeom>
        </p:spPr>
      </p:pic>
      <p:pic>
        <p:nvPicPr>
          <p:cNvPr id="27" name="Picture 26" descr="A yellow circle with white text&#10;&#10;Description automatically generated">
            <a:extLst>
              <a:ext uri="{FF2B5EF4-FFF2-40B4-BE49-F238E27FC236}">
                <a16:creationId xmlns:a16="http://schemas.microsoft.com/office/drawing/2014/main" id="{2F93D349-F219-BB9E-0651-9E639264FDE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1376" y="4551829"/>
            <a:ext cx="1620000" cy="1620000"/>
          </a:xfrm>
          <a:prstGeom prst="rect">
            <a:avLst/>
          </a:prstGeom>
        </p:spPr>
      </p:pic>
      <p:pic>
        <p:nvPicPr>
          <p:cNvPr id="28" name="Picture 27" descr="A blue circle with white text and two white speech bubbles&#10;&#10;Description automatically generated">
            <a:extLst>
              <a:ext uri="{FF2B5EF4-FFF2-40B4-BE49-F238E27FC236}">
                <a16:creationId xmlns:a16="http://schemas.microsoft.com/office/drawing/2014/main" id="{85505160-F8BC-D2DA-48C3-0A267924E25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9940" y="4538876"/>
            <a:ext cx="1620000" cy="1620000"/>
          </a:xfrm>
          <a:prstGeom prst="rect">
            <a:avLst/>
          </a:prstGeom>
        </p:spPr>
      </p:pic>
      <p:pic>
        <p:nvPicPr>
          <p:cNvPr id="29" name="Picture 28" descr="A blue circle with a hand and a thumb up&#10;&#10;Description automatically generated">
            <a:extLst>
              <a:ext uri="{FF2B5EF4-FFF2-40B4-BE49-F238E27FC236}">
                <a16:creationId xmlns:a16="http://schemas.microsoft.com/office/drawing/2014/main" id="{F9E5F77D-AE8C-E620-CDFB-605A62287C3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1274" y="627641"/>
            <a:ext cx="1620000" cy="1620000"/>
          </a:xfrm>
          <a:prstGeom prst="rect">
            <a:avLst/>
          </a:prstGeom>
        </p:spPr>
      </p:pic>
      <p:pic>
        <p:nvPicPr>
          <p:cNvPr id="30" name="Picture 2">
            <a:extLst>
              <a:ext uri="{FF2B5EF4-FFF2-40B4-BE49-F238E27FC236}">
                <a16:creationId xmlns:a16="http://schemas.microsoft.com/office/drawing/2014/main" id="{78AF7097-90DB-A06A-EE52-1EF0F5C22EC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9335" y="4551645"/>
            <a:ext cx="1620000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0" descr="A red circle with white text and lightning bolt&#10;&#10;Description automatically generated">
            <a:extLst>
              <a:ext uri="{FF2B5EF4-FFF2-40B4-BE49-F238E27FC236}">
                <a16:creationId xmlns:a16="http://schemas.microsoft.com/office/drawing/2014/main" id="{B604F706-CF3E-2D7E-A73A-5CCEB8EC06F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1341" y="696504"/>
            <a:ext cx="1733182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0976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stenbewuste K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15">
            <a:extLst>
              <a:ext uri="{FF2B5EF4-FFF2-40B4-BE49-F238E27FC236}">
                <a16:creationId xmlns:a16="http://schemas.microsoft.com/office/drawing/2014/main" id="{BD4311B3-092E-8AD4-3873-A18D3FE79C1E}"/>
              </a:ext>
            </a:extLst>
          </p:cNvPr>
          <p:cNvSpPr/>
          <p:nvPr userDrawn="1"/>
        </p:nvSpPr>
        <p:spPr bwMode="gray">
          <a:xfrm>
            <a:off x="6311900" y="0"/>
            <a:ext cx="5880099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9D726C-FB62-DF91-3308-02506101F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19309E-6D5F-C3CD-4ECE-AF5DA31C2C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XX maand 202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B26074-4102-3C1A-046C-A1D7410F6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265717-B740-CB1B-AD92-24C11E431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4799C7-B601-DA1B-6B43-17468BBCC5E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24013" y="6525368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nl-be"/>
            </a:defPPr>
            <a:lvl1pPr marL="0" algn="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8CFDFCC3-8B40-4EE5-B231-005F2F1C6A68}" type="slidenum">
              <a:rPr lang="de-DE" smtClean="0">
                <a:solidFill>
                  <a:srgbClr val="0050AA"/>
                </a:solidFill>
                <a:latin typeface="Lidl Font Pro"/>
              </a:rPr>
              <a:pPr>
                <a:defRPr/>
              </a:pPr>
              <a:t>‹#›</a:t>
            </a:fld>
            <a:endParaRPr lang="de-DE">
              <a:solidFill>
                <a:srgbClr val="0050AA"/>
              </a:solidFill>
              <a:latin typeface="Lidl Font Pro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C8B5974-7F6D-823D-B963-24A7D67F7D22}"/>
              </a:ext>
            </a:extLst>
          </p:cNvPr>
          <p:cNvSpPr txBox="1">
            <a:spLocks/>
          </p:cNvSpPr>
          <p:nvPr userDrawn="1"/>
        </p:nvSpPr>
        <p:spPr>
          <a:xfrm>
            <a:off x="507394" y="1185408"/>
            <a:ext cx="3344068" cy="6056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 marL="0" marR="0" indent="0" algn="l" defTabSz="914377" rtl="0" latinLnBrk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cap="none" spc="0" baseline="0">
                <a:solidFill>
                  <a:srgbClr val="0050AA"/>
                </a:solidFill>
                <a:uFillTx/>
                <a:latin typeface="+mn-lt"/>
                <a:ea typeface="+mn-ea"/>
                <a:cs typeface="+mn-cs"/>
                <a:sym typeface="Lidl Font Pro"/>
              </a:defRPr>
            </a:lvl1pPr>
            <a:lvl2pPr marL="0" marR="0" indent="0" algn="l" defTabSz="914377" rtl="0" latinLnBrk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cap="none" spc="0" baseline="0">
                <a:solidFill>
                  <a:srgbClr val="0050AA"/>
                </a:solidFill>
                <a:uFillTx/>
                <a:latin typeface="+mn-lt"/>
                <a:ea typeface="+mn-ea"/>
                <a:cs typeface="+mn-cs"/>
                <a:sym typeface="Lidl Font Pro"/>
              </a:defRPr>
            </a:lvl2pPr>
            <a:lvl3pPr marL="215999" marR="0" indent="-215999" algn="l" defTabSz="914377" rtl="0" latinLnBrk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1" i="0" u="none" strike="noStrike" cap="none" spc="0" baseline="0">
                <a:solidFill>
                  <a:srgbClr val="0050AA"/>
                </a:solidFill>
                <a:uFillTx/>
                <a:latin typeface="+mn-lt"/>
                <a:ea typeface="+mn-ea"/>
                <a:cs typeface="+mn-cs"/>
                <a:sym typeface="Lidl Font Pro"/>
              </a:defRPr>
            </a:lvl3pPr>
            <a:lvl4pPr marL="431988" marR="0" indent="-215999" algn="l" defTabSz="914377" rtl="0" latinLnBrk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800" b="1" i="0" u="none" strike="noStrike" cap="none" spc="0" baseline="0">
                <a:solidFill>
                  <a:srgbClr val="0050AA"/>
                </a:solidFill>
                <a:uFillTx/>
                <a:latin typeface="+mn-lt"/>
                <a:ea typeface="+mn-ea"/>
                <a:cs typeface="+mn-cs"/>
                <a:sym typeface="Lidl Font Pro"/>
              </a:defRPr>
            </a:lvl4pPr>
            <a:lvl5pPr marL="647999" marR="0" indent="-215999" algn="l" defTabSz="914377" rtl="0" latinLnBrk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800" b="1" i="0" u="none" strike="noStrike" cap="none" spc="0" baseline="0">
                <a:solidFill>
                  <a:srgbClr val="0050AA"/>
                </a:solidFill>
                <a:uFillTx/>
                <a:latin typeface="+mn-lt"/>
                <a:ea typeface="+mn-ea"/>
                <a:cs typeface="+mn-cs"/>
                <a:sym typeface="Lidl Font Pro"/>
              </a:defRPr>
            </a:lvl5pPr>
            <a:lvl6pPr marL="863999" marR="0" indent="-215999" algn="l" defTabSz="914377" rtl="0" latinLnBrk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800" b="1" i="0" u="none" strike="noStrike" cap="none" spc="0" baseline="0">
                <a:solidFill>
                  <a:srgbClr val="0050AA"/>
                </a:solidFill>
                <a:uFillTx/>
                <a:latin typeface="+mn-lt"/>
                <a:ea typeface="+mn-ea"/>
                <a:cs typeface="+mn-cs"/>
                <a:sym typeface="Lidl Font Pro"/>
              </a:defRPr>
            </a:lvl6pPr>
            <a:lvl7pPr marL="863999" marR="0" indent="-215999" algn="l" defTabSz="914377" rtl="0" latinLnBrk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800" b="1" i="0" u="none" strike="noStrike" cap="none" spc="0" baseline="0">
                <a:solidFill>
                  <a:srgbClr val="0050AA"/>
                </a:solidFill>
                <a:uFillTx/>
                <a:latin typeface="+mn-lt"/>
                <a:ea typeface="+mn-ea"/>
                <a:cs typeface="+mn-cs"/>
                <a:sym typeface="Lidl Font Pro"/>
              </a:defRPr>
            </a:lvl7pPr>
            <a:lvl8pPr marL="863999" marR="0" indent="-215999" algn="l" defTabSz="914377" rtl="0" latinLnBrk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800" b="1" i="0" u="none" strike="noStrike" cap="none" spc="0" baseline="0">
                <a:solidFill>
                  <a:srgbClr val="0050AA"/>
                </a:solidFill>
                <a:uFillTx/>
                <a:latin typeface="+mn-lt"/>
                <a:ea typeface="+mn-ea"/>
                <a:cs typeface="+mn-cs"/>
                <a:sym typeface="Lidl Font Pro"/>
              </a:defRPr>
            </a:lvl8pPr>
            <a:lvl9pPr marL="863999" marR="0" indent="-215999" algn="l" defTabSz="914377" rtl="0" latinLnBrk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Char char="−"/>
              <a:tabLst/>
              <a:defRPr sz="1800" b="1" i="0" u="none" strike="noStrike" cap="none" spc="0" baseline="0">
                <a:solidFill>
                  <a:srgbClr val="0050AA"/>
                </a:solidFill>
                <a:uFillTx/>
                <a:latin typeface="+mn-lt"/>
                <a:ea typeface="+mn-ea"/>
                <a:cs typeface="+mn-cs"/>
                <a:sym typeface="Lidl Font Pro"/>
              </a:defRPr>
            </a:lvl9pPr>
          </a:lstStyle>
          <a:p>
            <a:pPr marL="285750" marR="0" lvl="0" indent="-285750" algn="l" defTabSz="914377" rtl="0" eaLnBrk="1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nl-BE" sz="1800" b="0" i="0" u="none" strike="noStrike" kern="0" cap="none" spc="0" normalizeH="0" baseline="0" noProof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 panose="02000000000000000000" pitchFamily="2" charset="0"/>
              <a:ea typeface="+mn-ea"/>
              <a:cs typeface="+mn-cs"/>
              <a:sym typeface="Lidl Font Pro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C644A63-3D90-B6D6-EE20-A31C4ABABEB4}"/>
              </a:ext>
            </a:extLst>
          </p:cNvPr>
          <p:cNvGrpSpPr/>
          <p:nvPr userDrawn="1"/>
        </p:nvGrpSpPr>
        <p:grpSpPr>
          <a:xfrm>
            <a:off x="3444785" y="2474435"/>
            <a:ext cx="2640330" cy="3923984"/>
            <a:chOff x="4799650" y="1459863"/>
            <a:chExt cx="2640330" cy="3923984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FA26E1E-67F7-D3DB-F9E0-6732DEEF13C7}"/>
                </a:ext>
              </a:extLst>
            </p:cNvPr>
            <p:cNvCxnSpPr/>
            <p:nvPr/>
          </p:nvCxnSpPr>
          <p:spPr>
            <a:xfrm>
              <a:off x="6067742" y="2582227"/>
              <a:ext cx="28575" cy="203835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70EF29C-83AB-CFD7-BFD9-E0CAD00A7D2A}"/>
                </a:ext>
              </a:extLst>
            </p:cNvPr>
            <p:cNvCxnSpPr/>
            <p:nvPr/>
          </p:nvCxnSpPr>
          <p:spPr>
            <a:xfrm flipH="1">
              <a:off x="5780087" y="4604067"/>
              <a:ext cx="313690" cy="77978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9A728CB-E4DA-11E1-C5CF-990465853446}"/>
                </a:ext>
              </a:extLst>
            </p:cNvPr>
            <p:cNvCxnSpPr/>
            <p:nvPr/>
          </p:nvCxnSpPr>
          <p:spPr>
            <a:xfrm>
              <a:off x="6097587" y="4614227"/>
              <a:ext cx="332740" cy="75692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E5A44CA-E917-5C21-C888-582E8BB41171}"/>
                </a:ext>
              </a:extLst>
            </p:cNvPr>
            <p:cNvCxnSpPr/>
            <p:nvPr/>
          </p:nvCxnSpPr>
          <p:spPr>
            <a:xfrm flipH="1" flipV="1">
              <a:off x="5693727" y="3344862"/>
              <a:ext cx="378460" cy="257175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61F516E-813C-0E0A-A518-7BC8C7206466}"/>
                </a:ext>
              </a:extLst>
            </p:cNvPr>
            <p:cNvCxnSpPr/>
            <p:nvPr/>
          </p:nvCxnSpPr>
          <p:spPr>
            <a:xfrm flipH="1">
              <a:off x="6078537" y="3296602"/>
              <a:ext cx="419735" cy="315595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5BF0711-1B2E-64D3-9060-DFE91F4EAC1F}"/>
                </a:ext>
              </a:extLst>
            </p:cNvPr>
            <p:cNvSpPr/>
            <p:nvPr/>
          </p:nvSpPr>
          <p:spPr>
            <a:xfrm>
              <a:off x="5729922" y="1926907"/>
              <a:ext cx="670560" cy="670560"/>
            </a:xfrm>
            <a:prstGeom prst="ellips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52F3614-569C-2AF2-662D-2C9E79A6ED20}"/>
                </a:ext>
              </a:extLst>
            </p:cNvPr>
            <p:cNvSpPr/>
            <p:nvPr/>
          </p:nvSpPr>
          <p:spPr>
            <a:xfrm>
              <a:off x="5898832" y="2166937"/>
              <a:ext cx="94615" cy="82550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3BC7A08-B977-5B07-CAA2-7D7B1BA766EC}"/>
                </a:ext>
              </a:extLst>
            </p:cNvPr>
            <p:cNvSpPr/>
            <p:nvPr/>
          </p:nvSpPr>
          <p:spPr>
            <a:xfrm>
              <a:off x="6122987" y="2159952"/>
              <a:ext cx="94615" cy="82550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Arc 16">
              <a:extLst>
                <a:ext uri="{FF2B5EF4-FFF2-40B4-BE49-F238E27FC236}">
                  <a16:creationId xmlns:a16="http://schemas.microsoft.com/office/drawing/2014/main" id="{E4AA4AD5-2284-E329-FC6A-95D3F78F2746}"/>
                </a:ext>
              </a:extLst>
            </p:cNvPr>
            <p:cNvSpPr/>
            <p:nvPr/>
          </p:nvSpPr>
          <p:spPr>
            <a:xfrm rot="5400000">
              <a:off x="5972809" y="2209165"/>
              <a:ext cx="189865" cy="302260"/>
            </a:xfrm>
            <a:prstGeom prst="arc">
              <a:avLst>
                <a:gd name="adj1" fmla="val 16200000"/>
                <a:gd name="adj2" fmla="val 5024175"/>
              </a:avLst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732E622-3AEA-63AE-5138-638BE11CD9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3979" b="95756" l="4370" r="95116">
                          <a14:foregroundMark x1="55784" y1="15915" x2="41131" y2="42440"/>
                          <a14:foregroundMark x1="41131" y1="42440" x2="87918" y2="51724"/>
                          <a14:foregroundMark x1="87918" y1="51724" x2="74550" y2="25199"/>
                          <a14:foregroundMark x1="74550" y1="25199" x2="56555" y2="17241"/>
                          <a14:foregroundMark x1="56555" y1="17241" x2="54756" y2="14589"/>
                          <a14:foregroundMark x1="36504" y1="15385" x2="31877" y2="28382"/>
                          <a14:foregroundMark x1="31877" y1="28382" x2="47815" y2="53316"/>
                          <a14:foregroundMark x1="47815" y1="53316" x2="75321" y2="41645"/>
                          <a14:foregroundMark x1="75321" y1="41645" x2="53470" y2="13263"/>
                          <a14:foregroundMark x1="53470" y1="13263" x2="35990" y2="12467"/>
                          <a14:foregroundMark x1="35990" y1="12467" x2="36504" y2="16711"/>
                          <a14:foregroundMark x1="39846" y1="17507" x2="40103" y2="17241"/>
                          <a14:foregroundMark x1="22365" y1="25729" x2="22365" y2="25729"/>
                          <a14:foregroundMark x1="49614" y1="22281" x2="49614" y2="22281"/>
                          <a14:foregroundMark x1="47558" y1="20159" x2="47558" y2="20159"/>
                          <a14:foregroundMark x1="46272" y1="20955" x2="46272" y2="20955"/>
                          <a14:foregroundMark x1="45244" y1="20424" x2="45244" y2="20424"/>
                          <a14:foregroundMark x1="44216" y1="20424" x2="44216" y2="20424"/>
                          <a14:foregroundMark x1="43959" y1="20424" x2="43959" y2="20424"/>
                          <a14:foregroundMark x1="43959" y1="20424" x2="43959" y2="20424"/>
                          <a14:foregroundMark x1="44987" y1="19363" x2="44987" y2="19363"/>
                          <a14:foregroundMark x1="52185" y1="4509" x2="48072" y2="5305"/>
                          <a14:foregroundMark x1="48843" y1="4244" x2="48843" y2="4244"/>
                          <a14:foregroundMark x1="54242" y1="6366" x2="39589" y2="8753"/>
                          <a14:foregroundMark x1="39589" y1="8753" x2="22108" y2="23607"/>
                          <a14:foregroundMark x1="22108" y1="23607" x2="29049" y2="46154"/>
                          <a14:foregroundMark x1="29049" y1="46154" x2="73779" y2="57294"/>
                          <a14:foregroundMark x1="73779" y1="57294" x2="84576" y2="40584"/>
                          <a14:foregroundMark x1="84576" y1="40584" x2="71722" y2="23607"/>
                          <a14:foregroundMark x1="71722" y1="23607" x2="52185" y2="12467"/>
                          <a14:foregroundMark x1="52185" y1="12467" x2="54756" y2="7162"/>
                          <a14:foregroundMark x1="30077" y1="23873" x2="19794" y2="48541"/>
                          <a14:foregroundMark x1="19794" y1="48541" x2="69409" y2="56764"/>
                          <a14:foregroundMark x1="69409" y1="56764" x2="71465" y2="28912"/>
                          <a14:foregroundMark x1="71465" y1="28912" x2="43702" y2="15650"/>
                          <a14:foregroundMark x1="43702" y1="15650" x2="26992" y2="25729"/>
                          <a14:foregroundMark x1="26992" y1="25729" x2="26478" y2="27056"/>
                          <a14:foregroundMark x1="24165" y1="33687" x2="38046" y2="68435"/>
                          <a14:foregroundMark x1="38046" y1="68435" x2="68123" y2="54907"/>
                          <a14:foregroundMark x1="68123" y1="54907" x2="43702" y2="28647"/>
                          <a14:foregroundMark x1="43702" y1="28647" x2="21594" y2="36340"/>
                          <a14:foregroundMark x1="19023" y1="46684" x2="64010" y2="68966"/>
                          <a14:foregroundMark x1="64010" y1="68966" x2="68638" y2="38196"/>
                          <a14:foregroundMark x1="68638" y1="38196" x2="22622" y2="45889"/>
                          <a14:foregroundMark x1="22622" y1="45889" x2="18766" y2="48011"/>
                          <a14:foregroundMark x1="22622" y1="61804" x2="77378" y2="62334"/>
                          <a14:foregroundMark x1="77378" y1="62334" x2="65296" y2="39523"/>
                          <a14:foregroundMark x1="65296" y1="39523" x2="36761" y2="46154"/>
                          <a14:foregroundMark x1="36761" y1="46154" x2="25193" y2="57560"/>
                          <a14:foregroundMark x1="25193" y1="57560" x2="24422" y2="61273"/>
                          <a14:foregroundMark x1="57326" y1="32891" x2="57326" y2="32891"/>
                          <a14:foregroundMark x1="55784" y1="28647" x2="54499" y2="30239"/>
                          <a14:foregroundMark x1="52185" y1="35013" x2="52185" y2="35013"/>
                          <a14:foregroundMark x1="55013" y1="36340" x2="55013" y2="36340"/>
                          <a14:foregroundMark x1="58612" y1="32891" x2="58612" y2="32891"/>
                          <a14:foregroundMark x1="57841" y1="32361" x2="57841" y2="32361"/>
                          <a14:foregroundMark x1="52442" y1="34483" x2="52442" y2="34483"/>
                          <a14:foregroundMark x1="52956" y1="32626" x2="52956" y2="32626"/>
                          <a14:foregroundMark x1="52956" y1="29708" x2="52956" y2="29708"/>
                          <a14:foregroundMark x1="53985" y1="32626" x2="53985" y2="33156"/>
                          <a14:foregroundMark x1="39589" y1="38727" x2="39589" y2="38727"/>
                          <a14:foregroundMark x1="24422" y1="41114" x2="24422" y2="41114"/>
                          <a14:foregroundMark x1="20308" y1="36870" x2="20308" y2="36870"/>
                          <a14:foregroundMark x1="20051" y1="20424" x2="10540" y2="38196"/>
                          <a14:foregroundMark x1="10540" y1="38196" x2="7969" y2="51459"/>
                          <a14:foregroundMark x1="7969" y1="51459" x2="21851" y2="63130"/>
                          <a14:foregroundMark x1="21851" y1="63130" x2="26735" y2="36074"/>
                          <a14:foregroundMark x1="26735" y1="36074" x2="21080" y2="21751"/>
                          <a14:foregroundMark x1="21080" y1="21751" x2="20566" y2="22016"/>
                          <a14:foregroundMark x1="8226" y1="51459" x2="5793" y2="63783"/>
                          <a14:foregroundMark x1="5785" y1="63785" x2="8226" y2="51194"/>
                          <a14:foregroundMark x1="8226" y1="51194" x2="8226" y2="51989"/>
                          <a14:foregroundMark x1="7885" y1="73149" x2="9512" y2="83554"/>
                          <a14:foregroundMark x1="9512" y1="83554" x2="18509" y2="94695"/>
                          <a14:foregroundMark x1="18509" y1="94695" x2="51928" y2="90186"/>
                          <a14:foregroundMark x1="51928" y1="90186" x2="71208" y2="91512"/>
                          <a14:foregroundMark x1="71208" y1="91512" x2="88432" y2="79841"/>
                          <a14:foregroundMark x1="88432" y1="79841" x2="91411" y2="55721"/>
                          <a14:foregroundMark x1="89078" y1="46178" x2="83548" y2="32626"/>
                          <a14:foregroundMark x1="67095" y1="11141" x2="85347" y2="35809"/>
                          <a14:foregroundMark x1="66838" y1="10080" x2="66838" y2="10080"/>
                          <a14:foregroundMark x1="67609" y1="10875" x2="64010" y2="9284"/>
                          <a14:foregroundMark x1="70437" y1="31830" x2="73522" y2="46419"/>
                          <a14:foregroundMark x1="73522" y1="46419" x2="73779" y2="46419"/>
                          <a14:foregroundMark x1="68380" y1="29443" x2="52956" y2="35544"/>
                          <a14:foregroundMark x1="39332" y1="24403" x2="39332" y2="24403"/>
                          <a14:foregroundMark x1="47044" y1="22281" x2="47044" y2="22281"/>
                          <a14:foregroundMark x1="48329" y1="20690" x2="36504" y2="28647"/>
                          <a14:foregroundMark x1="36504" y1="28647" x2="34961" y2="31565"/>
                          <a14:foregroundMark x1="52956" y1="69231" x2="52956" y2="69231"/>
                          <a14:foregroundMark x1="59640" y1="71618" x2="59640" y2="71618"/>
                          <a14:foregroundMark x1="53728" y1="24934" x2="53728" y2="38992"/>
                          <a14:foregroundMark x1="53728" y1="38992" x2="65296" y2="24138"/>
                          <a14:foregroundMark x1="65296" y1="24138" x2="52185" y2="25464"/>
                          <a14:foregroundMark x1="52185" y1="25464" x2="52442" y2="27056"/>
                          <a14:foregroundMark x1="92019" y1="43236" x2="92082" y2="43392"/>
                          <a14:foregroundMark x1="91699" y1="42440" x2="92019" y2="43236"/>
                          <a14:foregroundMark x1="88175" y1="33687" x2="91699" y2="42440"/>
                          <a14:foregroundMark x1="94058" y1="55438" x2="91260" y2="67374"/>
                          <a14:foregroundMark x1="94092" y1="55294" x2="94058" y2="55438"/>
                          <a14:foregroundMark x1="93059" y1="85942" x2="85272" y2="96044"/>
                          <a14:foregroundMark x1="59863" y1="91308" x2="91239" y2="85942"/>
                          <a14:foregroundMark x1="53746" y1="92355" x2="55464" y2="92061"/>
                          <a14:foregroundMark x1="83548" y1="92042" x2="80004" y2="93464"/>
                          <a14:foregroundMark x1="15681" y1="95491" x2="15681" y2="95491"/>
                          <a14:foregroundMark x1="57584" y1="69496" x2="57584" y2="69496"/>
                          <a14:foregroundMark x1="56298" y1="70557" x2="56298" y2="70557"/>
                          <a14:foregroundMark x1="56298" y1="69231" x2="56041" y2="72414"/>
                          <a14:foregroundMark x1="7969" y1="73475" x2="7969" y2="73475"/>
                          <a14:foregroundMark x1="7969" y1="73210" x2="7969" y2="73210"/>
                          <a14:foregroundMark x1="7969" y1="72944" x2="7969" y2="72944"/>
                          <a14:foregroundMark x1="7969" y1="72149" x2="8483" y2="73740"/>
                          <a14:foregroundMark x1="27763" y1="13263" x2="25707" y2="14854"/>
                          <a14:foregroundMark x1="28278" y1="12467" x2="27506" y2="13263"/>
                          <a14:foregroundMark x1="29049" y1="12467" x2="28021" y2="12732"/>
                          <a14:backgroundMark x1="30702" y1="10534" x2="29306" y2="10875"/>
                          <a14:backgroundMark x1="29306" y1="10875" x2="28512" y2="11733"/>
                          <a14:backgroundMark x1="6100" y1="65928" x2="6415" y2="67195"/>
                          <a14:backgroundMark x1="38451" y1="95594" x2="46615" y2="95518"/>
                          <a14:backgroundMark x1="94421" y1="81862" x2="93283" y2="67869"/>
                          <a14:backgroundMark x1="55491" y1="4575" x2="54242" y2="4244"/>
                          <a14:backgroundMark x1="62630" y1="6469" x2="55674" y2="4624"/>
                          <a14:backgroundMark x1="95116" y1="50928" x2="95116" y2="50928"/>
                          <a14:backgroundMark x1="93059" y1="43236" x2="94859" y2="55172"/>
                          <a14:backgroundMark x1="94859" y1="85411" x2="94859" y2="85411"/>
                          <a14:backgroundMark x1="94602" y1="84350" x2="94602" y2="85942"/>
                          <a14:backgroundMark x1="4627" y1="64191" x2="7412" y2="72333"/>
                          <a14:backgroundMark x1="92545" y1="43501" x2="92545" y2="43501"/>
                          <a14:backgroundMark x1="92288" y1="42440" x2="92288" y2="42440"/>
                          <a14:backgroundMark x1="92545" y1="43236" x2="92545" y2="43236"/>
                          <a14:backgroundMark x1="94859" y1="55438" x2="94859" y2="55438"/>
                          <a14:backgroundMark x1="94602" y1="55172" x2="94602" y2="55172"/>
                          <a14:backgroundMark x1="55527" y1="94695" x2="76607" y2="98143"/>
                          <a14:backgroundMark x1="55270" y1="94695" x2="46015" y2="95491"/>
                          <a14:backgroundMark x1="53728" y1="94695" x2="84062" y2="9787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4362" y="1459863"/>
              <a:ext cx="741680" cy="718820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362D713-E86E-E141-6374-0BEF635F2037}"/>
                </a:ext>
              </a:extLst>
            </p:cNvPr>
            <p:cNvSpPr/>
            <p:nvPr/>
          </p:nvSpPr>
          <p:spPr bwMode="gray">
            <a:xfrm rot="21075091">
              <a:off x="4799650" y="2901604"/>
              <a:ext cx="2640330" cy="457200"/>
            </a:xfrm>
            <a:prstGeom prst="rect">
              <a:avLst/>
            </a:prstGeom>
            <a:solidFill>
              <a:srgbClr val="FFFF00"/>
            </a:solidFill>
            <a:ln w="63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600" b="1" i="0" u="none" strike="noStrike" kern="1200" cap="none" spc="0" normalizeH="0" baseline="0" noProof="0">
                  <a:ln>
                    <a:noFill/>
                  </a:ln>
                  <a:solidFill>
                    <a:srgbClr val="0050AA"/>
                  </a:solidFill>
                  <a:effectLst/>
                  <a:uLnTx/>
                  <a:uFillTx/>
                  <a:latin typeface="Lidl Font Pro" panose="02000000000000000000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JÉROME L’ÉCONOME</a:t>
              </a:r>
              <a:endParaRPr kumimoji="0" lang="nl-BE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0CE7B85-EAAF-5E42-D33B-8D15470D7A16}"/>
              </a:ext>
            </a:extLst>
          </p:cNvPr>
          <p:cNvGrpSpPr/>
          <p:nvPr userDrawn="1"/>
        </p:nvGrpSpPr>
        <p:grpSpPr>
          <a:xfrm>
            <a:off x="507394" y="2474435"/>
            <a:ext cx="2640330" cy="3923984"/>
            <a:chOff x="4799650" y="1459863"/>
            <a:chExt cx="2640330" cy="3923984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85DCBB2-281E-9506-ACBB-2CE2DA5608AC}"/>
                </a:ext>
              </a:extLst>
            </p:cNvPr>
            <p:cNvCxnSpPr/>
            <p:nvPr/>
          </p:nvCxnSpPr>
          <p:spPr>
            <a:xfrm>
              <a:off x="6067742" y="2582227"/>
              <a:ext cx="28575" cy="203835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55569FB-888E-1E48-ECC0-490B80D03060}"/>
                </a:ext>
              </a:extLst>
            </p:cNvPr>
            <p:cNvCxnSpPr/>
            <p:nvPr/>
          </p:nvCxnSpPr>
          <p:spPr>
            <a:xfrm flipH="1">
              <a:off x="5780087" y="4604067"/>
              <a:ext cx="313690" cy="77978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FFE78B8-465A-5D02-E9D1-37C74087A5F3}"/>
                </a:ext>
              </a:extLst>
            </p:cNvPr>
            <p:cNvCxnSpPr/>
            <p:nvPr/>
          </p:nvCxnSpPr>
          <p:spPr>
            <a:xfrm>
              <a:off x="6097587" y="4614227"/>
              <a:ext cx="332740" cy="756920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917D330E-9113-CFF8-D337-65AFFBDEE4EC}"/>
                </a:ext>
              </a:extLst>
            </p:cNvPr>
            <p:cNvCxnSpPr/>
            <p:nvPr/>
          </p:nvCxnSpPr>
          <p:spPr>
            <a:xfrm flipH="1" flipV="1">
              <a:off x="5693727" y="3344862"/>
              <a:ext cx="378460" cy="257175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58D5CF3-D6DD-C854-F1CA-689F58B810E5}"/>
                </a:ext>
              </a:extLst>
            </p:cNvPr>
            <p:cNvCxnSpPr/>
            <p:nvPr/>
          </p:nvCxnSpPr>
          <p:spPr>
            <a:xfrm flipH="1">
              <a:off x="6078537" y="3296602"/>
              <a:ext cx="419735" cy="315595"/>
            </a:xfrm>
            <a:prstGeom prst="lin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F1499C4A-3950-B5C8-5C08-AE3FEDF77FE3}"/>
                </a:ext>
              </a:extLst>
            </p:cNvPr>
            <p:cNvSpPr/>
            <p:nvPr/>
          </p:nvSpPr>
          <p:spPr>
            <a:xfrm>
              <a:off x="5729922" y="1926907"/>
              <a:ext cx="670560" cy="670560"/>
            </a:xfrm>
            <a:prstGeom prst="ellipse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F597BBFD-5D5A-653B-E5F9-89E71BA9DC19}"/>
                </a:ext>
              </a:extLst>
            </p:cNvPr>
            <p:cNvSpPr/>
            <p:nvPr/>
          </p:nvSpPr>
          <p:spPr>
            <a:xfrm>
              <a:off x="5898832" y="2166937"/>
              <a:ext cx="94615" cy="82550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EF078A03-2178-51AE-2DAC-4D1657EEA34A}"/>
                </a:ext>
              </a:extLst>
            </p:cNvPr>
            <p:cNvSpPr/>
            <p:nvPr/>
          </p:nvSpPr>
          <p:spPr>
            <a:xfrm>
              <a:off x="6122987" y="2159952"/>
              <a:ext cx="94615" cy="82550"/>
            </a:xfrm>
            <a:prstGeom prst="ellipse">
              <a:avLst/>
            </a:prstGeom>
            <a:solidFill>
              <a:sysClr val="windowText" lastClr="000000"/>
            </a:solidFill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Arc 28">
              <a:extLst>
                <a:ext uri="{FF2B5EF4-FFF2-40B4-BE49-F238E27FC236}">
                  <a16:creationId xmlns:a16="http://schemas.microsoft.com/office/drawing/2014/main" id="{1FE29B12-7672-585F-234B-364BB43A7594}"/>
                </a:ext>
              </a:extLst>
            </p:cNvPr>
            <p:cNvSpPr/>
            <p:nvPr/>
          </p:nvSpPr>
          <p:spPr>
            <a:xfrm rot="5400000">
              <a:off x="5972809" y="2209165"/>
              <a:ext cx="189865" cy="302260"/>
            </a:xfrm>
            <a:prstGeom prst="arc">
              <a:avLst>
                <a:gd name="adj1" fmla="val 16200000"/>
                <a:gd name="adj2" fmla="val 5024175"/>
              </a:avLst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30A29068-E2BF-26FD-8FCF-120E7F69BF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3979" b="95756" l="4370" r="95116">
                          <a14:foregroundMark x1="55784" y1="15915" x2="41131" y2="42440"/>
                          <a14:foregroundMark x1="41131" y1="42440" x2="87918" y2="51724"/>
                          <a14:foregroundMark x1="87918" y1="51724" x2="74550" y2="25199"/>
                          <a14:foregroundMark x1="74550" y1="25199" x2="56555" y2="17241"/>
                          <a14:foregroundMark x1="56555" y1="17241" x2="54756" y2="14589"/>
                          <a14:foregroundMark x1="36504" y1="15385" x2="31877" y2="28382"/>
                          <a14:foregroundMark x1="31877" y1="28382" x2="47815" y2="53316"/>
                          <a14:foregroundMark x1="47815" y1="53316" x2="75321" y2="41645"/>
                          <a14:foregroundMark x1="75321" y1="41645" x2="53470" y2="13263"/>
                          <a14:foregroundMark x1="53470" y1="13263" x2="35990" y2="12467"/>
                          <a14:foregroundMark x1="35990" y1="12467" x2="36504" y2="16711"/>
                          <a14:foregroundMark x1="39846" y1="17507" x2="40103" y2="17241"/>
                          <a14:foregroundMark x1="22365" y1="25729" x2="22365" y2="25729"/>
                          <a14:foregroundMark x1="49614" y1="22281" x2="49614" y2="22281"/>
                          <a14:foregroundMark x1="47558" y1="20159" x2="47558" y2="20159"/>
                          <a14:foregroundMark x1="46272" y1="20955" x2="46272" y2="20955"/>
                          <a14:foregroundMark x1="45244" y1="20424" x2="45244" y2="20424"/>
                          <a14:foregroundMark x1="44216" y1="20424" x2="44216" y2="20424"/>
                          <a14:foregroundMark x1="43959" y1="20424" x2="43959" y2="20424"/>
                          <a14:foregroundMark x1="43959" y1="20424" x2="43959" y2="20424"/>
                          <a14:foregroundMark x1="44987" y1="19363" x2="44987" y2="19363"/>
                          <a14:foregroundMark x1="52185" y1="4509" x2="48072" y2="5305"/>
                          <a14:foregroundMark x1="48843" y1="4244" x2="48843" y2="4244"/>
                          <a14:foregroundMark x1="54242" y1="6366" x2="39589" y2="8753"/>
                          <a14:foregroundMark x1="39589" y1="8753" x2="22108" y2="23607"/>
                          <a14:foregroundMark x1="22108" y1="23607" x2="29049" y2="46154"/>
                          <a14:foregroundMark x1="29049" y1="46154" x2="73779" y2="57294"/>
                          <a14:foregroundMark x1="73779" y1="57294" x2="84576" y2="40584"/>
                          <a14:foregroundMark x1="84576" y1="40584" x2="71722" y2="23607"/>
                          <a14:foregroundMark x1="71722" y1="23607" x2="52185" y2="12467"/>
                          <a14:foregroundMark x1="52185" y1="12467" x2="54756" y2="7162"/>
                          <a14:foregroundMark x1="30077" y1="23873" x2="19794" y2="48541"/>
                          <a14:foregroundMark x1="19794" y1="48541" x2="69409" y2="56764"/>
                          <a14:foregroundMark x1="69409" y1="56764" x2="71465" y2="28912"/>
                          <a14:foregroundMark x1="71465" y1="28912" x2="43702" y2="15650"/>
                          <a14:foregroundMark x1="43702" y1="15650" x2="26992" y2="25729"/>
                          <a14:foregroundMark x1="26992" y1="25729" x2="26478" y2="27056"/>
                          <a14:foregroundMark x1="24165" y1="33687" x2="38046" y2="68435"/>
                          <a14:foregroundMark x1="38046" y1="68435" x2="68123" y2="54907"/>
                          <a14:foregroundMark x1="68123" y1="54907" x2="43702" y2="28647"/>
                          <a14:foregroundMark x1="43702" y1="28647" x2="21594" y2="36340"/>
                          <a14:foregroundMark x1="19023" y1="46684" x2="64010" y2="68966"/>
                          <a14:foregroundMark x1="64010" y1="68966" x2="68638" y2="38196"/>
                          <a14:foregroundMark x1="68638" y1="38196" x2="22622" y2="45889"/>
                          <a14:foregroundMark x1="22622" y1="45889" x2="18766" y2="48011"/>
                          <a14:foregroundMark x1="22622" y1="61804" x2="77378" y2="62334"/>
                          <a14:foregroundMark x1="77378" y1="62334" x2="65296" y2="39523"/>
                          <a14:foregroundMark x1="65296" y1="39523" x2="36761" y2="46154"/>
                          <a14:foregroundMark x1="36761" y1="46154" x2="25193" y2="57560"/>
                          <a14:foregroundMark x1="25193" y1="57560" x2="24422" y2="61273"/>
                          <a14:foregroundMark x1="57326" y1="32891" x2="57326" y2="32891"/>
                          <a14:foregroundMark x1="55784" y1="28647" x2="54499" y2="30239"/>
                          <a14:foregroundMark x1="52185" y1="35013" x2="52185" y2="35013"/>
                          <a14:foregroundMark x1="55013" y1="36340" x2="55013" y2="36340"/>
                          <a14:foregroundMark x1="58612" y1="32891" x2="58612" y2="32891"/>
                          <a14:foregroundMark x1="57841" y1="32361" x2="57841" y2="32361"/>
                          <a14:foregroundMark x1="52442" y1="34483" x2="52442" y2="34483"/>
                          <a14:foregroundMark x1="52956" y1="32626" x2="52956" y2="32626"/>
                          <a14:foregroundMark x1="52956" y1="29708" x2="52956" y2="29708"/>
                          <a14:foregroundMark x1="53985" y1="32626" x2="53985" y2="33156"/>
                          <a14:foregroundMark x1="39589" y1="38727" x2="39589" y2="38727"/>
                          <a14:foregroundMark x1="24422" y1="41114" x2="24422" y2="41114"/>
                          <a14:foregroundMark x1="20308" y1="36870" x2="20308" y2="36870"/>
                          <a14:foregroundMark x1="20051" y1="20424" x2="10540" y2="38196"/>
                          <a14:foregroundMark x1="10540" y1="38196" x2="7969" y2="51459"/>
                          <a14:foregroundMark x1="7969" y1="51459" x2="21851" y2="63130"/>
                          <a14:foregroundMark x1="21851" y1="63130" x2="26735" y2="36074"/>
                          <a14:foregroundMark x1="26735" y1="36074" x2="21080" y2="21751"/>
                          <a14:foregroundMark x1="21080" y1="21751" x2="20566" y2="22016"/>
                          <a14:foregroundMark x1="8226" y1="51459" x2="5793" y2="63783"/>
                          <a14:foregroundMark x1="5785" y1="63785" x2="8226" y2="51194"/>
                          <a14:foregroundMark x1="8226" y1="51194" x2="8226" y2="51989"/>
                          <a14:foregroundMark x1="7885" y1="73149" x2="9512" y2="83554"/>
                          <a14:foregroundMark x1="9512" y1="83554" x2="18509" y2="94695"/>
                          <a14:foregroundMark x1="18509" y1="94695" x2="51928" y2="90186"/>
                          <a14:foregroundMark x1="51928" y1="90186" x2="71208" y2="91512"/>
                          <a14:foregroundMark x1="71208" y1="91512" x2="88432" y2="79841"/>
                          <a14:foregroundMark x1="88432" y1="79841" x2="91411" y2="55721"/>
                          <a14:foregroundMark x1="89078" y1="46178" x2="83548" y2="32626"/>
                          <a14:foregroundMark x1="67095" y1="11141" x2="85347" y2="35809"/>
                          <a14:foregroundMark x1="66838" y1="10080" x2="66838" y2="10080"/>
                          <a14:foregroundMark x1="67609" y1="10875" x2="64010" y2="9284"/>
                          <a14:foregroundMark x1="70437" y1="31830" x2="73522" y2="46419"/>
                          <a14:foregroundMark x1="73522" y1="46419" x2="73779" y2="46419"/>
                          <a14:foregroundMark x1="68380" y1="29443" x2="52956" y2="35544"/>
                          <a14:foregroundMark x1="39332" y1="24403" x2="39332" y2="24403"/>
                          <a14:foregroundMark x1="47044" y1="22281" x2="47044" y2="22281"/>
                          <a14:foregroundMark x1="48329" y1="20690" x2="36504" y2="28647"/>
                          <a14:foregroundMark x1="36504" y1="28647" x2="34961" y2="31565"/>
                          <a14:foregroundMark x1="52956" y1="69231" x2="52956" y2="69231"/>
                          <a14:foregroundMark x1="59640" y1="71618" x2="59640" y2="71618"/>
                          <a14:foregroundMark x1="53728" y1="24934" x2="53728" y2="38992"/>
                          <a14:foregroundMark x1="53728" y1="38992" x2="65296" y2="24138"/>
                          <a14:foregroundMark x1="65296" y1="24138" x2="52185" y2="25464"/>
                          <a14:foregroundMark x1="52185" y1="25464" x2="52442" y2="27056"/>
                          <a14:foregroundMark x1="92019" y1="43236" x2="92082" y2="43392"/>
                          <a14:foregroundMark x1="91699" y1="42440" x2="92019" y2="43236"/>
                          <a14:foregroundMark x1="88175" y1="33687" x2="91699" y2="42440"/>
                          <a14:foregroundMark x1="94058" y1="55438" x2="91260" y2="67374"/>
                          <a14:foregroundMark x1="94092" y1="55294" x2="94058" y2="55438"/>
                          <a14:foregroundMark x1="93059" y1="85942" x2="85272" y2="96044"/>
                          <a14:foregroundMark x1="59863" y1="91308" x2="91239" y2="85942"/>
                          <a14:foregroundMark x1="53746" y1="92355" x2="55464" y2="92061"/>
                          <a14:foregroundMark x1="83548" y1="92042" x2="80004" y2="93464"/>
                          <a14:foregroundMark x1="15681" y1="95491" x2="15681" y2="95491"/>
                          <a14:foregroundMark x1="57584" y1="69496" x2="57584" y2="69496"/>
                          <a14:foregroundMark x1="56298" y1="70557" x2="56298" y2="70557"/>
                          <a14:foregroundMark x1="56298" y1="69231" x2="56041" y2="72414"/>
                          <a14:foregroundMark x1="7969" y1="73475" x2="7969" y2="73475"/>
                          <a14:foregroundMark x1="7969" y1="73210" x2="7969" y2="73210"/>
                          <a14:foregroundMark x1="7969" y1="72944" x2="7969" y2="72944"/>
                          <a14:foregroundMark x1="7969" y1="72149" x2="8483" y2="73740"/>
                          <a14:foregroundMark x1="27763" y1="13263" x2="25707" y2="14854"/>
                          <a14:foregroundMark x1="28278" y1="12467" x2="27506" y2="13263"/>
                          <a14:foregroundMark x1="29049" y1="12467" x2="28021" y2="12732"/>
                          <a14:backgroundMark x1="30702" y1="10534" x2="29306" y2="10875"/>
                          <a14:backgroundMark x1="29306" y1="10875" x2="28512" y2="11733"/>
                          <a14:backgroundMark x1="6100" y1="65928" x2="6415" y2="67195"/>
                          <a14:backgroundMark x1="38451" y1="95594" x2="46615" y2="95518"/>
                          <a14:backgroundMark x1="94421" y1="81862" x2="93283" y2="67869"/>
                          <a14:backgroundMark x1="55491" y1="4575" x2="54242" y2="4244"/>
                          <a14:backgroundMark x1="62630" y1="6469" x2="55674" y2="4624"/>
                          <a14:backgroundMark x1="95116" y1="50928" x2="95116" y2="50928"/>
                          <a14:backgroundMark x1="93059" y1="43236" x2="94859" y2="55172"/>
                          <a14:backgroundMark x1="94859" y1="85411" x2="94859" y2="85411"/>
                          <a14:backgroundMark x1="94602" y1="84350" x2="94602" y2="85942"/>
                          <a14:backgroundMark x1="4627" y1="64191" x2="7412" y2="72333"/>
                          <a14:backgroundMark x1="92545" y1="43501" x2="92545" y2="43501"/>
                          <a14:backgroundMark x1="92288" y1="42440" x2="92288" y2="42440"/>
                          <a14:backgroundMark x1="92545" y1="43236" x2="92545" y2="43236"/>
                          <a14:backgroundMark x1="94859" y1="55438" x2="94859" y2="55438"/>
                          <a14:backgroundMark x1="94602" y1="55172" x2="94602" y2="55172"/>
                          <a14:backgroundMark x1="55527" y1="94695" x2="76607" y2="98143"/>
                          <a14:backgroundMark x1="55270" y1="94695" x2="46015" y2="95491"/>
                          <a14:backgroundMark x1="53728" y1="94695" x2="84062" y2="9787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4362" y="1459863"/>
              <a:ext cx="741680" cy="718820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DA4AABF-9756-47D2-0826-355EB1ABC9D5}"/>
                </a:ext>
              </a:extLst>
            </p:cNvPr>
            <p:cNvSpPr/>
            <p:nvPr/>
          </p:nvSpPr>
          <p:spPr bwMode="gray">
            <a:xfrm rot="21075091">
              <a:off x="4799650" y="2901604"/>
              <a:ext cx="2640330" cy="457200"/>
            </a:xfrm>
            <a:prstGeom prst="rect">
              <a:avLst/>
            </a:prstGeom>
            <a:solidFill>
              <a:srgbClr val="FFFF00"/>
            </a:solidFill>
            <a:ln w="63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nl-BE" sz="1600" b="1">
                  <a:solidFill>
                    <a:srgbClr val="0050AA"/>
                  </a:solidFill>
                  <a:latin typeface="Lidl Font Pro" panose="02000000000000000000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KOSTENBEWUSTE KURT</a:t>
              </a:r>
              <a:endParaRPr kumimoji="0" lang="nl-BE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B4D6C8F-2CD6-F176-2494-9765EAAD17C5}"/>
              </a:ext>
            </a:extLst>
          </p:cNvPr>
          <p:cNvGrpSpPr/>
          <p:nvPr userDrawn="1"/>
        </p:nvGrpSpPr>
        <p:grpSpPr>
          <a:xfrm>
            <a:off x="9378772" y="2474435"/>
            <a:ext cx="2640330" cy="3923984"/>
            <a:chOff x="9319872" y="706279"/>
            <a:chExt cx="2640330" cy="3923984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F5377150-CDCA-FA02-A6CA-14F82D627ED7}"/>
                </a:ext>
              </a:extLst>
            </p:cNvPr>
            <p:cNvGrpSpPr/>
            <p:nvPr/>
          </p:nvGrpSpPr>
          <p:grpSpPr>
            <a:xfrm>
              <a:off x="10213949" y="706279"/>
              <a:ext cx="804545" cy="3923984"/>
              <a:chOff x="10213949" y="706279"/>
              <a:chExt cx="804545" cy="3923984"/>
            </a:xfrm>
          </p:grpSpPr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8B189BC-6EE0-5941-51A5-F2CBFBB0710F}"/>
                  </a:ext>
                </a:extLst>
              </p:cNvPr>
              <p:cNvCxnSpPr/>
              <p:nvPr/>
            </p:nvCxnSpPr>
            <p:spPr>
              <a:xfrm>
                <a:off x="10587964" y="1828643"/>
                <a:ext cx="28575" cy="2038350"/>
              </a:xfrm>
              <a:prstGeom prst="line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649A9D97-4D9D-807F-E2D6-1215B2D84DBE}"/>
                  </a:ext>
                </a:extLst>
              </p:cNvPr>
              <p:cNvCxnSpPr/>
              <p:nvPr/>
            </p:nvCxnSpPr>
            <p:spPr>
              <a:xfrm flipH="1">
                <a:off x="10300309" y="3850483"/>
                <a:ext cx="313690" cy="779780"/>
              </a:xfrm>
              <a:prstGeom prst="line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08493155-7153-E409-EBB1-DDF3930D81FE}"/>
                  </a:ext>
                </a:extLst>
              </p:cNvPr>
              <p:cNvCxnSpPr/>
              <p:nvPr/>
            </p:nvCxnSpPr>
            <p:spPr>
              <a:xfrm>
                <a:off x="10617809" y="3860643"/>
                <a:ext cx="332740" cy="756920"/>
              </a:xfrm>
              <a:prstGeom prst="line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2F489E9-E240-D508-FBBA-3E6E1F75E6C7}"/>
                  </a:ext>
                </a:extLst>
              </p:cNvPr>
              <p:cNvCxnSpPr/>
              <p:nvPr/>
            </p:nvCxnSpPr>
            <p:spPr>
              <a:xfrm flipH="1" flipV="1">
                <a:off x="10213949" y="2591278"/>
                <a:ext cx="378460" cy="257175"/>
              </a:xfrm>
              <a:prstGeom prst="line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D512C21-44A9-41A5-842D-84AEDE85A9AF}"/>
                  </a:ext>
                </a:extLst>
              </p:cNvPr>
              <p:cNvCxnSpPr/>
              <p:nvPr/>
            </p:nvCxnSpPr>
            <p:spPr>
              <a:xfrm flipH="1">
                <a:off x="10598759" y="2543018"/>
                <a:ext cx="419735" cy="315595"/>
              </a:xfrm>
              <a:prstGeom prst="line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</p:cxn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ECEEA342-4AF2-8F8B-516D-56F5D20E2721}"/>
                  </a:ext>
                </a:extLst>
              </p:cNvPr>
              <p:cNvSpPr/>
              <p:nvPr/>
            </p:nvSpPr>
            <p:spPr>
              <a:xfrm>
                <a:off x="10250144" y="1173323"/>
                <a:ext cx="670560" cy="670560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59A78B19-70D9-0744-1DDD-33323008E462}"/>
                  </a:ext>
                </a:extLst>
              </p:cNvPr>
              <p:cNvSpPr/>
              <p:nvPr/>
            </p:nvSpPr>
            <p:spPr>
              <a:xfrm>
                <a:off x="10419054" y="1413353"/>
                <a:ext cx="94615" cy="8255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AF41CBA8-90CE-C0C0-D93C-3B465D06F1ED}"/>
                  </a:ext>
                </a:extLst>
              </p:cNvPr>
              <p:cNvSpPr/>
              <p:nvPr/>
            </p:nvSpPr>
            <p:spPr>
              <a:xfrm>
                <a:off x="10643209" y="1406368"/>
                <a:ext cx="94615" cy="8255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Arc 42">
                <a:extLst>
                  <a:ext uri="{FF2B5EF4-FFF2-40B4-BE49-F238E27FC236}">
                    <a16:creationId xmlns:a16="http://schemas.microsoft.com/office/drawing/2014/main" id="{33F3F252-899B-F3CF-8FFA-B158416FA1A5}"/>
                  </a:ext>
                </a:extLst>
              </p:cNvPr>
              <p:cNvSpPr/>
              <p:nvPr/>
            </p:nvSpPr>
            <p:spPr>
              <a:xfrm rot="5400000">
                <a:off x="10493031" y="1455581"/>
                <a:ext cx="189865" cy="302260"/>
              </a:xfrm>
              <a:prstGeom prst="arc">
                <a:avLst>
                  <a:gd name="adj1" fmla="val 16200000"/>
                  <a:gd name="adj2" fmla="val 5024175"/>
                </a:avLst>
              </a:prstGeom>
              <a:noFill/>
              <a:ln w="127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1733E9C5-15C1-3660-59A7-36AF77A5C6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3979" b="95756" l="4370" r="95116">
                            <a14:foregroundMark x1="55784" y1="15915" x2="41131" y2="42440"/>
                            <a14:foregroundMark x1="41131" y1="42440" x2="87918" y2="51724"/>
                            <a14:foregroundMark x1="87918" y1="51724" x2="74550" y2="25199"/>
                            <a14:foregroundMark x1="74550" y1="25199" x2="56555" y2="17241"/>
                            <a14:foregroundMark x1="56555" y1="17241" x2="54756" y2="14589"/>
                            <a14:foregroundMark x1="36504" y1="15385" x2="31877" y2="28382"/>
                            <a14:foregroundMark x1="31877" y1="28382" x2="47815" y2="53316"/>
                            <a14:foregroundMark x1="47815" y1="53316" x2="75321" y2="41645"/>
                            <a14:foregroundMark x1="75321" y1="41645" x2="53470" y2="13263"/>
                            <a14:foregroundMark x1="53470" y1="13263" x2="35990" y2="12467"/>
                            <a14:foregroundMark x1="35990" y1="12467" x2="36504" y2="16711"/>
                            <a14:foregroundMark x1="39846" y1="17507" x2="40103" y2="17241"/>
                            <a14:foregroundMark x1="22365" y1="25729" x2="22365" y2="25729"/>
                            <a14:foregroundMark x1="49614" y1="22281" x2="49614" y2="22281"/>
                            <a14:foregroundMark x1="47558" y1="20159" x2="47558" y2="20159"/>
                            <a14:foregroundMark x1="46272" y1="20955" x2="46272" y2="20955"/>
                            <a14:foregroundMark x1="45244" y1="20424" x2="45244" y2="20424"/>
                            <a14:foregroundMark x1="44216" y1="20424" x2="44216" y2="20424"/>
                            <a14:foregroundMark x1="43959" y1="20424" x2="43959" y2="20424"/>
                            <a14:foregroundMark x1="43959" y1="20424" x2="43959" y2="20424"/>
                            <a14:foregroundMark x1="44987" y1="19363" x2="44987" y2="19363"/>
                            <a14:foregroundMark x1="52185" y1="4509" x2="48072" y2="5305"/>
                            <a14:foregroundMark x1="48843" y1="4244" x2="48843" y2="4244"/>
                            <a14:foregroundMark x1="54242" y1="6366" x2="39589" y2="8753"/>
                            <a14:foregroundMark x1="39589" y1="8753" x2="22108" y2="23607"/>
                            <a14:foregroundMark x1="22108" y1="23607" x2="29049" y2="46154"/>
                            <a14:foregroundMark x1="29049" y1="46154" x2="73779" y2="57294"/>
                            <a14:foregroundMark x1="73779" y1="57294" x2="84576" y2="40584"/>
                            <a14:foregroundMark x1="84576" y1="40584" x2="71722" y2="23607"/>
                            <a14:foregroundMark x1="71722" y1="23607" x2="52185" y2="12467"/>
                            <a14:foregroundMark x1="52185" y1="12467" x2="54756" y2="7162"/>
                            <a14:foregroundMark x1="30077" y1="23873" x2="19794" y2="48541"/>
                            <a14:foregroundMark x1="19794" y1="48541" x2="69409" y2="56764"/>
                            <a14:foregroundMark x1="69409" y1="56764" x2="71465" y2="28912"/>
                            <a14:foregroundMark x1="71465" y1="28912" x2="43702" y2="15650"/>
                            <a14:foregroundMark x1="43702" y1="15650" x2="26992" y2="25729"/>
                            <a14:foregroundMark x1="26992" y1="25729" x2="26478" y2="27056"/>
                            <a14:foregroundMark x1="24165" y1="33687" x2="38046" y2="68435"/>
                            <a14:foregroundMark x1="38046" y1="68435" x2="68123" y2="54907"/>
                            <a14:foregroundMark x1="68123" y1="54907" x2="43702" y2="28647"/>
                            <a14:foregroundMark x1="43702" y1="28647" x2="21594" y2="36340"/>
                            <a14:foregroundMark x1="19023" y1="46684" x2="64010" y2="68966"/>
                            <a14:foregroundMark x1="64010" y1="68966" x2="68638" y2="38196"/>
                            <a14:foregroundMark x1="68638" y1="38196" x2="22622" y2="45889"/>
                            <a14:foregroundMark x1="22622" y1="45889" x2="18766" y2="48011"/>
                            <a14:foregroundMark x1="22622" y1="61804" x2="77378" y2="62334"/>
                            <a14:foregroundMark x1="77378" y1="62334" x2="65296" y2="39523"/>
                            <a14:foregroundMark x1="65296" y1="39523" x2="36761" y2="46154"/>
                            <a14:foregroundMark x1="36761" y1="46154" x2="25193" y2="57560"/>
                            <a14:foregroundMark x1="25193" y1="57560" x2="24422" y2="61273"/>
                            <a14:foregroundMark x1="57326" y1="32891" x2="57326" y2="32891"/>
                            <a14:foregroundMark x1="55784" y1="28647" x2="54499" y2="30239"/>
                            <a14:foregroundMark x1="52185" y1="35013" x2="52185" y2="35013"/>
                            <a14:foregroundMark x1="55013" y1="36340" x2="55013" y2="36340"/>
                            <a14:foregroundMark x1="58612" y1="32891" x2="58612" y2="32891"/>
                            <a14:foregroundMark x1="57841" y1="32361" x2="57841" y2="32361"/>
                            <a14:foregroundMark x1="52442" y1="34483" x2="52442" y2="34483"/>
                            <a14:foregroundMark x1="52956" y1="32626" x2="52956" y2="32626"/>
                            <a14:foregroundMark x1="52956" y1="29708" x2="52956" y2="29708"/>
                            <a14:foregroundMark x1="53985" y1="32626" x2="53985" y2="33156"/>
                            <a14:foregroundMark x1="39589" y1="38727" x2="39589" y2="38727"/>
                            <a14:foregroundMark x1="24422" y1="41114" x2="24422" y2="41114"/>
                            <a14:foregroundMark x1="20308" y1="36870" x2="20308" y2="36870"/>
                            <a14:foregroundMark x1="20051" y1="20424" x2="10540" y2="38196"/>
                            <a14:foregroundMark x1="10540" y1="38196" x2="7969" y2="51459"/>
                            <a14:foregroundMark x1="7969" y1="51459" x2="21851" y2="63130"/>
                            <a14:foregroundMark x1="21851" y1="63130" x2="26735" y2="36074"/>
                            <a14:foregroundMark x1="26735" y1="36074" x2="21080" y2="21751"/>
                            <a14:foregroundMark x1="21080" y1="21751" x2="20566" y2="22016"/>
                            <a14:foregroundMark x1="8226" y1="51459" x2="5793" y2="63783"/>
                            <a14:foregroundMark x1="5785" y1="63785" x2="8226" y2="51194"/>
                            <a14:foregroundMark x1="8226" y1="51194" x2="8226" y2="51989"/>
                            <a14:foregroundMark x1="7885" y1="73149" x2="9512" y2="83554"/>
                            <a14:foregroundMark x1="9512" y1="83554" x2="18509" y2="94695"/>
                            <a14:foregroundMark x1="18509" y1="94695" x2="51928" y2="90186"/>
                            <a14:foregroundMark x1="51928" y1="90186" x2="71208" y2="91512"/>
                            <a14:foregroundMark x1="71208" y1="91512" x2="88432" y2="79841"/>
                            <a14:foregroundMark x1="88432" y1="79841" x2="91411" y2="55721"/>
                            <a14:foregroundMark x1="89078" y1="46178" x2="83548" y2="32626"/>
                            <a14:foregroundMark x1="67095" y1="11141" x2="85347" y2="35809"/>
                            <a14:foregroundMark x1="66838" y1="10080" x2="66838" y2="10080"/>
                            <a14:foregroundMark x1="67609" y1="10875" x2="64010" y2="9284"/>
                            <a14:foregroundMark x1="70437" y1="31830" x2="73522" y2="46419"/>
                            <a14:foregroundMark x1="73522" y1="46419" x2="73779" y2="46419"/>
                            <a14:foregroundMark x1="68380" y1="29443" x2="52956" y2="35544"/>
                            <a14:foregroundMark x1="39332" y1="24403" x2="39332" y2="24403"/>
                            <a14:foregroundMark x1="47044" y1="22281" x2="47044" y2="22281"/>
                            <a14:foregroundMark x1="48329" y1="20690" x2="36504" y2="28647"/>
                            <a14:foregroundMark x1="36504" y1="28647" x2="34961" y2="31565"/>
                            <a14:foregroundMark x1="52956" y1="69231" x2="52956" y2="69231"/>
                            <a14:foregroundMark x1="59640" y1="71618" x2="59640" y2="71618"/>
                            <a14:foregroundMark x1="53728" y1="24934" x2="53728" y2="38992"/>
                            <a14:foregroundMark x1="53728" y1="38992" x2="65296" y2="24138"/>
                            <a14:foregroundMark x1="65296" y1="24138" x2="52185" y2="25464"/>
                            <a14:foregroundMark x1="52185" y1="25464" x2="52442" y2="27056"/>
                            <a14:foregroundMark x1="92019" y1="43236" x2="92082" y2="43392"/>
                            <a14:foregroundMark x1="91699" y1="42440" x2="92019" y2="43236"/>
                            <a14:foregroundMark x1="88175" y1="33687" x2="91699" y2="42440"/>
                            <a14:foregroundMark x1="94058" y1="55438" x2="91260" y2="67374"/>
                            <a14:foregroundMark x1="94092" y1="55294" x2="94058" y2="55438"/>
                            <a14:foregroundMark x1="93059" y1="85942" x2="85272" y2="96044"/>
                            <a14:foregroundMark x1="59863" y1="91308" x2="91239" y2="85942"/>
                            <a14:foregroundMark x1="53746" y1="92355" x2="55464" y2="92061"/>
                            <a14:foregroundMark x1="83548" y1="92042" x2="80004" y2="93464"/>
                            <a14:foregroundMark x1="15681" y1="95491" x2="15681" y2="95491"/>
                            <a14:foregroundMark x1="57584" y1="69496" x2="57584" y2="69496"/>
                            <a14:foregroundMark x1="56298" y1="70557" x2="56298" y2="70557"/>
                            <a14:foregroundMark x1="56298" y1="69231" x2="56041" y2="72414"/>
                            <a14:foregroundMark x1="7969" y1="73475" x2="7969" y2="73475"/>
                            <a14:foregroundMark x1="7969" y1="73210" x2="7969" y2="73210"/>
                            <a14:foregroundMark x1="7969" y1="72944" x2="7969" y2="72944"/>
                            <a14:foregroundMark x1="7969" y1="72149" x2="8483" y2="73740"/>
                            <a14:foregroundMark x1="27763" y1="13263" x2="25707" y2="14854"/>
                            <a14:foregroundMark x1="28278" y1="12467" x2="27506" y2="13263"/>
                            <a14:foregroundMark x1="29049" y1="12467" x2="28021" y2="12732"/>
                            <a14:backgroundMark x1="30702" y1="10534" x2="29306" y2="10875"/>
                            <a14:backgroundMark x1="29306" y1="10875" x2="28512" y2="11733"/>
                            <a14:backgroundMark x1="6100" y1="65928" x2="6415" y2="67195"/>
                            <a14:backgroundMark x1="38451" y1="95594" x2="46615" y2="95518"/>
                            <a14:backgroundMark x1="94421" y1="81862" x2="93283" y2="67869"/>
                            <a14:backgroundMark x1="55491" y1="4575" x2="54242" y2="4244"/>
                            <a14:backgroundMark x1="62630" y1="6469" x2="55674" y2="4624"/>
                            <a14:backgroundMark x1="95116" y1="50928" x2="95116" y2="50928"/>
                            <a14:backgroundMark x1="93059" y1="43236" x2="94859" y2="55172"/>
                            <a14:backgroundMark x1="94859" y1="85411" x2="94859" y2="85411"/>
                            <a14:backgroundMark x1="94602" y1="84350" x2="94602" y2="85942"/>
                            <a14:backgroundMark x1="4627" y1="64191" x2="7412" y2="72333"/>
                            <a14:backgroundMark x1="92545" y1="43501" x2="92545" y2="43501"/>
                            <a14:backgroundMark x1="92288" y1="42440" x2="92288" y2="42440"/>
                            <a14:backgroundMark x1="92545" y1="43236" x2="92545" y2="43236"/>
                            <a14:backgroundMark x1="94859" y1="55438" x2="94859" y2="55438"/>
                            <a14:backgroundMark x1="94602" y1="55172" x2="94602" y2="55172"/>
                            <a14:backgroundMark x1="55527" y1="94695" x2="76607" y2="98143"/>
                            <a14:backgroundMark x1="55270" y1="94695" x2="46015" y2="95491"/>
                            <a14:backgroundMark x1="53728" y1="94695" x2="84062" y2="97878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214584" y="706279"/>
                <a:ext cx="741680" cy="718820"/>
              </a:xfrm>
              <a:prstGeom prst="rect">
                <a:avLst/>
              </a:prstGeom>
            </p:spPr>
          </p:pic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30FE29D-279E-AE96-84B0-C774ADF923E3}"/>
                </a:ext>
              </a:extLst>
            </p:cNvPr>
            <p:cNvSpPr/>
            <p:nvPr/>
          </p:nvSpPr>
          <p:spPr bwMode="gray">
            <a:xfrm rot="21075091">
              <a:off x="9319872" y="2148020"/>
              <a:ext cx="2640330" cy="457200"/>
            </a:xfrm>
            <a:prstGeom prst="rect">
              <a:avLst/>
            </a:prstGeom>
            <a:solidFill>
              <a:srgbClr val="FFFF00"/>
            </a:solidFill>
            <a:ln w="63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600" b="1" i="0" u="none" strike="noStrike" kern="1200" cap="none" spc="0" normalizeH="0" baseline="0" noProof="0">
                  <a:ln>
                    <a:noFill/>
                  </a:ln>
                  <a:solidFill>
                    <a:srgbClr val="0050AA"/>
                  </a:solidFill>
                  <a:effectLst/>
                  <a:uLnTx/>
                  <a:uFillTx/>
                  <a:latin typeface="Lidl Font Pro" panose="02000000000000000000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JÉROME L’ÉCONOME</a:t>
              </a:r>
              <a:endParaRPr kumimoji="0" lang="nl-BE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5DA2934-10AE-254B-1BFD-CA110B39BC4D}"/>
              </a:ext>
            </a:extLst>
          </p:cNvPr>
          <p:cNvGrpSpPr/>
          <p:nvPr userDrawn="1"/>
        </p:nvGrpSpPr>
        <p:grpSpPr>
          <a:xfrm>
            <a:off x="6381211" y="2477284"/>
            <a:ext cx="2640330" cy="3923984"/>
            <a:chOff x="6381211" y="638324"/>
            <a:chExt cx="2640330" cy="3923984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5A936B9A-79BD-9E40-0214-C5C5A60A2923}"/>
                </a:ext>
              </a:extLst>
            </p:cNvPr>
            <p:cNvGrpSpPr/>
            <p:nvPr/>
          </p:nvGrpSpPr>
          <p:grpSpPr>
            <a:xfrm>
              <a:off x="7275288" y="638324"/>
              <a:ext cx="804545" cy="3923984"/>
              <a:chOff x="7275288" y="638324"/>
              <a:chExt cx="804545" cy="3923984"/>
            </a:xfrm>
          </p:grpSpPr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70503ECD-22DD-C2EE-E47C-C15B242E6791}"/>
                  </a:ext>
                </a:extLst>
              </p:cNvPr>
              <p:cNvCxnSpPr/>
              <p:nvPr/>
            </p:nvCxnSpPr>
            <p:spPr>
              <a:xfrm>
                <a:off x="7649303" y="1760688"/>
                <a:ext cx="28575" cy="2038350"/>
              </a:xfrm>
              <a:prstGeom prst="line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22C0F896-9652-2A5C-FC98-74FE388D8E06}"/>
                  </a:ext>
                </a:extLst>
              </p:cNvPr>
              <p:cNvCxnSpPr/>
              <p:nvPr/>
            </p:nvCxnSpPr>
            <p:spPr>
              <a:xfrm flipH="1">
                <a:off x="7361648" y="3782528"/>
                <a:ext cx="313690" cy="779780"/>
              </a:xfrm>
              <a:prstGeom prst="line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56AC40F2-7C01-53C9-3AFE-466B32114A4C}"/>
                  </a:ext>
                </a:extLst>
              </p:cNvPr>
              <p:cNvCxnSpPr/>
              <p:nvPr/>
            </p:nvCxnSpPr>
            <p:spPr>
              <a:xfrm>
                <a:off x="7679148" y="3792688"/>
                <a:ext cx="332740" cy="756920"/>
              </a:xfrm>
              <a:prstGeom prst="line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C7718415-C713-47E4-9AC4-F7E2B693C8E3}"/>
                  </a:ext>
                </a:extLst>
              </p:cNvPr>
              <p:cNvCxnSpPr/>
              <p:nvPr/>
            </p:nvCxnSpPr>
            <p:spPr>
              <a:xfrm flipH="1" flipV="1">
                <a:off x="7275288" y="2523323"/>
                <a:ext cx="378460" cy="257175"/>
              </a:xfrm>
              <a:prstGeom prst="line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831274BA-B2AD-35B1-E7B8-9603BED63FAB}"/>
                  </a:ext>
                </a:extLst>
              </p:cNvPr>
              <p:cNvCxnSpPr/>
              <p:nvPr/>
            </p:nvCxnSpPr>
            <p:spPr>
              <a:xfrm flipH="1">
                <a:off x="7660098" y="2475063"/>
                <a:ext cx="419735" cy="315595"/>
              </a:xfrm>
              <a:prstGeom prst="line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</p:cxn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09E32DCD-020C-F44F-0DB7-4349FC344482}"/>
                  </a:ext>
                </a:extLst>
              </p:cNvPr>
              <p:cNvSpPr/>
              <p:nvPr/>
            </p:nvSpPr>
            <p:spPr>
              <a:xfrm>
                <a:off x="7311483" y="1105368"/>
                <a:ext cx="670560" cy="670560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66D3A00E-32EE-9B59-A31B-74EC0C7A0588}"/>
                  </a:ext>
                </a:extLst>
              </p:cNvPr>
              <p:cNvSpPr/>
              <p:nvPr/>
            </p:nvSpPr>
            <p:spPr>
              <a:xfrm>
                <a:off x="7480393" y="1345398"/>
                <a:ext cx="94615" cy="8255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63C6C2BB-B814-D8AB-5F0B-8E8E8E196F87}"/>
                  </a:ext>
                </a:extLst>
              </p:cNvPr>
              <p:cNvSpPr/>
              <p:nvPr/>
            </p:nvSpPr>
            <p:spPr>
              <a:xfrm>
                <a:off x="7704548" y="1338413"/>
                <a:ext cx="94615" cy="8255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Arc 55">
                <a:extLst>
                  <a:ext uri="{FF2B5EF4-FFF2-40B4-BE49-F238E27FC236}">
                    <a16:creationId xmlns:a16="http://schemas.microsoft.com/office/drawing/2014/main" id="{D4545139-2F94-6B5D-1ED7-144975CA81F9}"/>
                  </a:ext>
                </a:extLst>
              </p:cNvPr>
              <p:cNvSpPr/>
              <p:nvPr/>
            </p:nvSpPr>
            <p:spPr>
              <a:xfrm rot="5400000">
                <a:off x="7554370" y="1387626"/>
                <a:ext cx="189865" cy="302260"/>
              </a:xfrm>
              <a:prstGeom prst="arc">
                <a:avLst>
                  <a:gd name="adj1" fmla="val 16200000"/>
                  <a:gd name="adj2" fmla="val 5024175"/>
                </a:avLst>
              </a:prstGeom>
              <a:noFill/>
              <a:ln w="127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F2EE499B-02EA-F0C8-E9C0-AC8CB21942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3979" b="95756" l="4370" r="95116">
                            <a14:foregroundMark x1="55784" y1="15915" x2="41131" y2="42440"/>
                            <a14:foregroundMark x1="41131" y1="42440" x2="87918" y2="51724"/>
                            <a14:foregroundMark x1="87918" y1="51724" x2="74550" y2="25199"/>
                            <a14:foregroundMark x1="74550" y1="25199" x2="56555" y2="17241"/>
                            <a14:foregroundMark x1="56555" y1="17241" x2="54756" y2="14589"/>
                            <a14:foregroundMark x1="36504" y1="15385" x2="31877" y2="28382"/>
                            <a14:foregroundMark x1="31877" y1="28382" x2="47815" y2="53316"/>
                            <a14:foregroundMark x1="47815" y1="53316" x2="75321" y2="41645"/>
                            <a14:foregroundMark x1="75321" y1="41645" x2="53470" y2="13263"/>
                            <a14:foregroundMark x1="53470" y1="13263" x2="35990" y2="12467"/>
                            <a14:foregroundMark x1="35990" y1="12467" x2="36504" y2="16711"/>
                            <a14:foregroundMark x1="39846" y1="17507" x2="40103" y2="17241"/>
                            <a14:foregroundMark x1="22365" y1="25729" x2="22365" y2="25729"/>
                            <a14:foregroundMark x1="49614" y1="22281" x2="49614" y2="22281"/>
                            <a14:foregroundMark x1="47558" y1="20159" x2="47558" y2="20159"/>
                            <a14:foregroundMark x1="46272" y1="20955" x2="46272" y2="20955"/>
                            <a14:foregroundMark x1="45244" y1="20424" x2="45244" y2="20424"/>
                            <a14:foregroundMark x1="44216" y1="20424" x2="44216" y2="20424"/>
                            <a14:foregroundMark x1="43959" y1="20424" x2="43959" y2="20424"/>
                            <a14:foregroundMark x1="43959" y1="20424" x2="43959" y2="20424"/>
                            <a14:foregroundMark x1="44987" y1="19363" x2="44987" y2="19363"/>
                            <a14:foregroundMark x1="52185" y1="4509" x2="48072" y2="5305"/>
                            <a14:foregroundMark x1="48843" y1="4244" x2="48843" y2="4244"/>
                            <a14:foregroundMark x1="54242" y1="6366" x2="39589" y2="8753"/>
                            <a14:foregroundMark x1="39589" y1="8753" x2="22108" y2="23607"/>
                            <a14:foregroundMark x1="22108" y1="23607" x2="29049" y2="46154"/>
                            <a14:foregroundMark x1="29049" y1="46154" x2="73779" y2="57294"/>
                            <a14:foregroundMark x1="73779" y1="57294" x2="84576" y2="40584"/>
                            <a14:foregroundMark x1="84576" y1="40584" x2="71722" y2="23607"/>
                            <a14:foregroundMark x1="71722" y1="23607" x2="52185" y2="12467"/>
                            <a14:foregroundMark x1="52185" y1="12467" x2="54756" y2="7162"/>
                            <a14:foregroundMark x1="30077" y1="23873" x2="19794" y2="48541"/>
                            <a14:foregroundMark x1="19794" y1="48541" x2="69409" y2="56764"/>
                            <a14:foregroundMark x1="69409" y1="56764" x2="71465" y2="28912"/>
                            <a14:foregroundMark x1="71465" y1="28912" x2="43702" y2="15650"/>
                            <a14:foregroundMark x1="43702" y1="15650" x2="26992" y2="25729"/>
                            <a14:foregroundMark x1="26992" y1="25729" x2="26478" y2="27056"/>
                            <a14:foregroundMark x1="24165" y1="33687" x2="38046" y2="68435"/>
                            <a14:foregroundMark x1="38046" y1="68435" x2="68123" y2="54907"/>
                            <a14:foregroundMark x1="68123" y1="54907" x2="43702" y2="28647"/>
                            <a14:foregroundMark x1="43702" y1="28647" x2="21594" y2="36340"/>
                            <a14:foregroundMark x1="19023" y1="46684" x2="64010" y2="68966"/>
                            <a14:foregroundMark x1="64010" y1="68966" x2="68638" y2="38196"/>
                            <a14:foregroundMark x1="68638" y1="38196" x2="22622" y2="45889"/>
                            <a14:foregroundMark x1="22622" y1="45889" x2="18766" y2="48011"/>
                            <a14:foregroundMark x1="22622" y1="61804" x2="77378" y2="62334"/>
                            <a14:foregroundMark x1="77378" y1="62334" x2="65296" y2="39523"/>
                            <a14:foregroundMark x1="65296" y1="39523" x2="36761" y2="46154"/>
                            <a14:foregroundMark x1="36761" y1="46154" x2="25193" y2="57560"/>
                            <a14:foregroundMark x1="25193" y1="57560" x2="24422" y2="61273"/>
                            <a14:foregroundMark x1="57326" y1="32891" x2="57326" y2="32891"/>
                            <a14:foregroundMark x1="55784" y1="28647" x2="54499" y2="30239"/>
                            <a14:foregroundMark x1="52185" y1="35013" x2="52185" y2="35013"/>
                            <a14:foregroundMark x1="55013" y1="36340" x2="55013" y2="36340"/>
                            <a14:foregroundMark x1="58612" y1="32891" x2="58612" y2="32891"/>
                            <a14:foregroundMark x1="57841" y1="32361" x2="57841" y2="32361"/>
                            <a14:foregroundMark x1="52442" y1="34483" x2="52442" y2="34483"/>
                            <a14:foregroundMark x1="52956" y1="32626" x2="52956" y2="32626"/>
                            <a14:foregroundMark x1="52956" y1="29708" x2="52956" y2="29708"/>
                            <a14:foregroundMark x1="53985" y1="32626" x2="53985" y2="33156"/>
                            <a14:foregroundMark x1="39589" y1="38727" x2="39589" y2="38727"/>
                            <a14:foregroundMark x1="24422" y1="41114" x2="24422" y2="41114"/>
                            <a14:foregroundMark x1="20308" y1="36870" x2="20308" y2="36870"/>
                            <a14:foregroundMark x1="20051" y1="20424" x2="10540" y2="38196"/>
                            <a14:foregroundMark x1="10540" y1="38196" x2="7969" y2="51459"/>
                            <a14:foregroundMark x1="7969" y1="51459" x2="21851" y2="63130"/>
                            <a14:foregroundMark x1="21851" y1="63130" x2="26735" y2="36074"/>
                            <a14:foregroundMark x1="26735" y1="36074" x2="21080" y2="21751"/>
                            <a14:foregroundMark x1="21080" y1="21751" x2="20566" y2="22016"/>
                            <a14:foregroundMark x1="8226" y1="51459" x2="5793" y2="63783"/>
                            <a14:foregroundMark x1="5785" y1="63785" x2="8226" y2="51194"/>
                            <a14:foregroundMark x1="8226" y1="51194" x2="8226" y2="51989"/>
                            <a14:foregroundMark x1="7885" y1="73149" x2="9512" y2="83554"/>
                            <a14:foregroundMark x1="9512" y1="83554" x2="18509" y2="94695"/>
                            <a14:foregroundMark x1="18509" y1="94695" x2="51928" y2="90186"/>
                            <a14:foregroundMark x1="51928" y1="90186" x2="71208" y2="91512"/>
                            <a14:foregroundMark x1="71208" y1="91512" x2="88432" y2="79841"/>
                            <a14:foregroundMark x1="88432" y1="79841" x2="91411" y2="55721"/>
                            <a14:foregroundMark x1="89078" y1="46178" x2="83548" y2="32626"/>
                            <a14:foregroundMark x1="67095" y1="11141" x2="85347" y2="35809"/>
                            <a14:foregroundMark x1="66838" y1="10080" x2="66838" y2="10080"/>
                            <a14:foregroundMark x1="67609" y1="10875" x2="64010" y2="9284"/>
                            <a14:foregroundMark x1="70437" y1="31830" x2="73522" y2="46419"/>
                            <a14:foregroundMark x1="73522" y1="46419" x2="73779" y2="46419"/>
                            <a14:foregroundMark x1="68380" y1="29443" x2="52956" y2="35544"/>
                            <a14:foregroundMark x1="39332" y1="24403" x2="39332" y2="24403"/>
                            <a14:foregroundMark x1="47044" y1="22281" x2="47044" y2="22281"/>
                            <a14:foregroundMark x1="48329" y1="20690" x2="36504" y2="28647"/>
                            <a14:foregroundMark x1="36504" y1="28647" x2="34961" y2="31565"/>
                            <a14:foregroundMark x1="52956" y1="69231" x2="52956" y2="69231"/>
                            <a14:foregroundMark x1="59640" y1="71618" x2="59640" y2="71618"/>
                            <a14:foregroundMark x1="53728" y1="24934" x2="53728" y2="38992"/>
                            <a14:foregroundMark x1="53728" y1="38992" x2="65296" y2="24138"/>
                            <a14:foregroundMark x1="65296" y1="24138" x2="52185" y2="25464"/>
                            <a14:foregroundMark x1="52185" y1="25464" x2="52442" y2="27056"/>
                            <a14:foregroundMark x1="92019" y1="43236" x2="92082" y2="43392"/>
                            <a14:foregroundMark x1="91699" y1="42440" x2="92019" y2="43236"/>
                            <a14:foregroundMark x1="88175" y1="33687" x2="91699" y2="42440"/>
                            <a14:foregroundMark x1="94058" y1="55438" x2="91260" y2="67374"/>
                            <a14:foregroundMark x1="94092" y1="55294" x2="94058" y2="55438"/>
                            <a14:foregroundMark x1="93059" y1="85942" x2="85272" y2="96044"/>
                            <a14:foregroundMark x1="59863" y1="91308" x2="91239" y2="85942"/>
                            <a14:foregroundMark x1="53746" y1="92355" x2="55464" y2="92061"/>
                            <a14:foregroundMark x1="83548" y1="92042" x2="80004" y2="93464"/>
                            <a14:foregroundMark x1="15681" y1="95491" x2="15681" y2="95491"/>
                            <a14:foregroundMark x1="57584" y1="69496" x2="57584" y2="69496"/>
                            <a14:foregroundMark x1="56298" y1="70557" x2="56298" y2="70557"/>
                            <a14:foregroundMark x1="56298" y1="69231" x2="56041" y2="72414"/>
                            <a14:foregroundMark x1="7969" y1="73475" x2="7969" y2="73475"/>
                            <a14:foregroundMark x1="7969" y1="73210" x2="7969" y2="73210"/>
                            <a14:foregroundMark x1="7969" y1="72944" x2="7969" y2="72944"/>
                            <a14:foregroundMark x1="7969" y1="72149" x2="8483" y2="73740"/>
                            <a14:foregroundMark x1="27763" y1="13263" x2="25707" y2="14854"/>
                            <a14:foregroundMark x1="28278" y1="12467" x2="27506" y2="13263"/>
                            <a14:foregroundMark x1="29049" y1="12467" x2="28021" y2="12732"/>
                            <a14:backgroundMark x1="30702" y1="10534" x2="29306" y2="10875"/>
                            <a14:backgroundMark x1="29306" y1="10875" x2="28512" y2="11733"/>
                            <a14:backgroundMark x1="6100" y1="65928" x2="6415" y2="67195"/>
                            <a14:backgroundMark x1="38451" y1="95594" x2="46615" y2="95518"/>
                            <a14:backgroundMark x1="94421" y1="81862" x2="93283" y2="67869"/>
                            <a14:backgroundMark x1="55491" y1="4575" x2="54242" y2="4244"/>
                            <a14:backgroundMark x1="62630" y1="6469" x2="55674" y2="4624"/>
                            <a14:backgroundMark x1="95116" y1="50928" x2="95116" y2="50928"/>
                            <a14:backgroundMark x1="93059" y1="43236" x2="94859" y2="55172"/>
                            <a14:backgroundMark x1="94859" y1="85411" x2="94859" y2="85411"/>
                            <a14:backgroundMark x1="94602" y1="84350" x2="94602" y2="85942"/>
                            <a14:backgroundMark x1="4627" y1="64191" x2="7412" y2="72333"/>
                            <a14:backgroundMark x1="92545" y1="43501" x2="92545" y2="43501"/>
                            <a14:backgroundMark x1="92288" y1="42440" x2="92288" y2="42440"/>
                            <a14:backgroundMark x1="92545" y1="43236" x2="92545" y2="43236"/>
                            <a14:backgroundMark x1="94859" y1="55438" x2="94859" y2="55438"/>
                            <a14:backgroundMark x1="94602" y1="55172" x2="94602" y2="55172"/>
                            <a14:backgroundMark x1="55527" y1="94695" x2="76607" y2="98143"/>
                            <a14:backgroundMark x1="55270" y1="94695" x2="46015" y2="95491"/>
                            <a14:backgroundMark x1="53728" y1="94695" x2="84062" y2="97878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75923" y="638324"/>
                <a:ext cx="741680" cy="718820"/>
              </a:xfrm>
              <a:prstGeom prst="rect">
                <a:avLst/>
              </a:prstGeom>
            </p:spPr>
          </p:pic>
        </p:grp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25FE340-3985-5065-A020-944A054B032C}"/>
                </a:ext>
              </a:extLst>
            </p:cNvPr>
            <p:cNvSpPr/>
            <p:nvPr/>
          </p:nvSpPr>
          <p:spPr bwMode="gray">
            <a:xfrm rot="21075091">
              <a:off x="6381211" y="2080065"/>
              <a:ext cx="2640330" cy="457200"/>
            </a:xfrm>
            <a:prstGeom prst="rect">
              <a:avLst/>
            </a:prstGeom>
            <a:solidFill>
              <a:srgbClr val="FFFF00"/>
            </a:solidFill>
            <a:ln w="6350"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nl-BE" sz="1600" b="1">
                  <a:solidFill>
                    <a:srgbClr val="0050AA"/>
                  </a:solidFill>
                  <a:latin typeface="Lidl Font Pro" panose="02000000000000000000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KOSTENBEWUSTE KURT</a:t>
              </a:r>
              <a:endParaRPr kumimoji="0" lang="nl-BE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CE6688D-792E-460F-A2BF-4B79E2FD4992}"/>
              </a:ext>
            </a:extLst>
          </p:cNvPr>
          <p:cNvGrpSpPr/>
          <p:nvPr userDrawn="1"/>
        </p:nvGrpSpPr>
        <p:grpSpPr>
          <a:xfrm>
            <a:off x="7907249" y="773102"/>
            <a:ext cx="2277110" cy="980440"/>
            <a:chOff x="573431" y="4951058"/>
            <a:chExt cx="2277110" cy="980440"/>
          </a:xfrm>
        </p:grpSpPr>
        <p:pic>
          <p:nvPicPr>
            <p:cNvPr id="59" name="Picture 58" descr="Download Money Bag Coins Euro Royalty-Free Stock Illustration Image -  Pixabay">
              <a:extLst>
                <a:ext uri="{FF2B5EF4-FFF2-40B4-BE49-F238E27FC236}">
                  <a16:creationId xmlns:a16="http://schemas.microsoft.com/office/drawing/2014/main" id="{996719F3-37CE-7B99-C45A-8C8E9D835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93241" y="5090123"/>
              <a:ext cx="1257300" cy="8413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59" descr="Download Money Bag Coins Euro Royalty-Free Stock Illustration Image -  Pixabay">
              <a:extLst>
                <a:ext uri="{FF2B5EF4-FFF2-40B4-BE49-F238E27FC236}">
                  <a16:creationId xmlns:a16="http://schemas.microsoft.com/office/drawing/2014/main" id="{76A2E294-68F1-7214-6211-2681877271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431" y="4951058"/>
              <a:ext cx="1257300" cy="8413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1" name="Picture 60" descr="A blue circle with a stick figure and a white hat&#10;&#10;Description automatically generated">
            <a:extLst>
              <a:ext uri="{FF2B5EF4-FFF2-40B4-BE49-F238E27FC236}">
                <a16:creationId xmlns:a16="http://schemas.microsoft.com/office/drawing/2014/main" id="{EDDA485F-C4EB-3BC3-F463-E6B801D6E2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9290" y="463664"/>
            <a:ext cx="1755690" cy="1755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731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50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1557339"/>
            <a:ext cx="885600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3357152"/>
            <a:ext cx="885600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der Präsentation</a:t>
            </a:r>
            <a:br>
              <a:rPr lang="de-DE"/>
            </a:br>
            <a:r>
              <a:rPr lang="de-DE"/>
              <a:t>(in 1-2 Zeilen)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Ort, </a:t>
            </a:r>
            <a:r>
              <a:rPr lang="de-DE" err="1"/>
              <a:t>xx.Monat.xxxx</a:t>
            </a:r>
            <a:endParaRPr lang="de-DE"/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CC72B5D-EB52-4429-B211-425945C57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792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4A7B0D83-8E0C-4C18-A552-73CED6AF29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64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4A7B0D83-8E0C-4C18-A552-73CED6AF2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1557339"/>
            <a:ext cx="8856000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3357152"/>
            <a:ext cx="885600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Untertitel der Präsentation</a:t>
            </a:r>
            <a:br>
              <a:rPr lang="de-DE"/>
            </a:br>
            <a:r>
              <a:rPr lang="de-DE"/>
              <a:t>(in 1-2 Zeilen)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Ort, </a:t>
            </a:r>
            <a:r>
              <a:rPr lang="de-DE" err="1"/>
              <a:t>xx.Monat.xxxx</a:t>
            </a:r>
            <a:endParaRPr lang="de-DE"/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pic>
        <p:nvPicPr>
          <p:cNvPr id="5" name="Grafik 5">
            <a:extLst>
              <a:ext uri="{FF2B5EF4-FFF2-40B4-BE49-F238E27FC236}">
                <a16:creationId xmlns:a16="http://schemas.microsoft.com/office/drawing/2014/main" id="{8E4FEE80-378B-D29F-ACF9-0BEF2266EE4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9854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3356992"/>
            <a:ext cx="12192000" cy="3501008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4077072"/>
            <a:ext cx="8856000" cy="576000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4725160"/>
            <a:ext cx="885600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der Präsentation</a:t>
            </a:r>
            <a:br>
              <a:rPr lang="de-DE"/>
            </a:br>
            <a:r>
              <a:rPr lang="de-DE"/>
              <a:t>(in 1-2 Zeilen)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Ort, </a:t>
            </a:r>
            <a:r>
              <a:rPr lang="de-DE" err="1"/>
              <a:t>xx.Monat.xxxx</a:t>
            </a:r>
            <a:endParaRPr lang="de-DE"/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0476DF1-9CDC-44D7-8634-DE84BA8EDC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"/>
            <a:ext cx="12192000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30545FE-C70C-41B3-8699-36419E1D18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367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0D220DD7-7D89-4F54-9A78-122077A9C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6648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0D220DD7-7D89-4F54-9A78-122077A9C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4077072"/>
            <a:ext cx="8856000" cy="576000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4725160"/>
            <a:ext cx="885600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Untertitel der Präsentation</a:t>
            </a:r>
            <a:br>
              <a:rPr lang="de-DE"/>
            </a:br>
            <a:r>
              <a:rPr lang="de-DE"/>
              <a:t>(in 1-2 Zeilen)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Ort, </a:t>
            </a:r>
            <a:r>
              <a:rPr lang="de-DE" err="1"/>
              <a:t>xx.Monat.xxxx</a:t>
            </a:r>
            <a:endParaRPr lang="de-DE"/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0476DF1-9CDC-44D7-8634-DE84BA8EDC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"/>
            <a:ext cx="12192000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pic>
        <p:nvPicPr>
          <p:cNvPr id="7" name="Grafik 5">
            <a:extLst>
              <a:ext uri="{FF2B5EF4-FFF2-40B4-BE49-F238E27FC236}">
                <a16:creationId xmlns:a16="http://schemas.microsoft.com/office/drawing/2014/main" id="{EDFBAF25-F39E-1F75-D9BF-872927F54BE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743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28E39D0B-1C52-4219-A4C5-3BA3C06246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C66FBA54-DA02-4D9A-A991-C7CA2B37F8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723" y="231294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6" name="Symbol zastępczy tekstu 2">
            <a:extLst>
              <a:ext uri="{FF2B5EF4-FFF2-40B4-BE49-F238E27FC236}">
                <a16:creationId xmlns:a16="http://schemas.microsoft.com/office/drawing/2014/main" id="{3F338573-B2E3-4920-9CC7-DE173BAE7F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368" y="310502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7" name="Symbol zastępczy tekstu 2">
            <a:extLst>
              <a:ext uri="{FF2B5EF4-FFF2-40B4-BE49-F238E27FC236}">
                <a16:creationId xmlns:a16="http://schemas.microsoft.com/office/drawing/2014/main" id="{024A7887-1F28-4B02-A601-318D1D0FBC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368" y="3897116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2603ECC3-DCAB-40EC-90CE-A360637028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368" y="46892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9" name="Symbol zastępczy tekstu 2">
            <a:extLst>
              <a:ext uri="{FF2B5EF4-FFF2-40B4-BE49-F238E27FC236}">
                <a16:creationId xmlns:a16="http://schemas.microsoft.com/office/drawing/2014/main" id="{9CA4ED02-E7A4-4F72-9352-D95AB1314A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368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0" name="Symbol zastępczy tekstu 2">
            <a:extLst>
              <a:ext uri="{FF2B5EF4-FFF2-40B4-BE49-F238E27FC236}">
                <a16:creationId xmlns:a16="http://schemas.microsoft.com/office/drawing/2014/main" id="{30E3E7CD-8D3B-4518-82EB-DBA4D20F41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6085" y="152078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21" name="Symbol zastępczy tekstu 2">
            <a:extLst>
              <a:ext uri="{FF2B5EF4-FFF2-40B4-BE49-F238E27FC236}">
                <a16:creationId xmlns:a16="http://schemas.microsoft.com/office/drawing/2014/main" id="{BB058CB8-845E-4715-901A-A96D17FAC8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5440" y="2312940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22" name="Symbol zastępczy tekstu 2">
            <a:extLst>
              <a:ext uri="{FF2B5EF4-FFF2-40B4-BE49-F238E27FC236}">
                <a16:creationId xmlns:a16="http://schemas.microsoft.com/office/drawing/2014/main" id="{31E05F14-8EB7-42D4-8828-79EF4F8C8A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6085" y="310502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23" name="Symbol zastępczy tekstu 2">
            <a:extLst>
              <a:ext uri="{FF2B5EF4-FFF2-40B4-BE49-F238E27FC236}">
                <a16:creationId xmlns:a16="http://schemas.microsoft.com/office/drawing/2014/main" id="{31AE3CDC-9DCC-4936-8F1B-6CC168383A2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6085" y="3897116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24" name="Symbol zastępczy tekstu 2">
            <a:extLst>
              <a:ext uri="{FF2B5EF4-FFF2-40B4-BE49-F238E27FC236}">
                <a16:creationId xmlns:a16="http://schemas.microsoft.com/office/drawing/2014/main" id="{61F9105D-D12A-4295-81A9-CF18E5F6909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6085" y="4689204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25" name="Symbol zastępczy tekstu 2">
            <a:extLst>
              <a:ext uri="{FF2B5EF4-FFF2-40B4-BE49-F238E27FC236}">
                <a16:creationId xmlns:a16="http://schemas.microsoft.com/office/drawing/2014/main" id="{99FA460E-8F7C-4F14-9897-889DCBFB8FA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6085" y="548122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86676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AF207A56-7104-41FC-A9EE-BC6FA7982A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6" name="Symbol zastępczy tekstu 2">
            <a:extLst>
              <a:ext uri="{FF2B5EF4-FFF2-40B4-BE49-F238E27FC236}">
                <a16:creationId xmlns:a16="http://schemas.microsoft.com/office/drawing/2014/main" id="{09A1A87F-801A-4454-959B-3707F803F8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723" y="23130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7" name="Symbol zastępczy tekstu 2">
            <a:extLst>
              <a:ext uri="{FF2B5EF4-FFF2-40B4-BE49-F238E27FC236}">
                <a16:creationId xmlns:a16="http://schemas.microsoft.com/office/drawing/2014/main" id="{C370DAE5-371F-4850-A35E-1F834D69F6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368" y="31050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331AE295-E638-40D5-A256-CF1A02346B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368" y="389718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9" name="Symbol zastępczy tekstu 2">
            <a:extLst>
              <a:ext uri="{FF2B5EF4-FFF2-40B4-BE49-F238E27FC236}">
                <a16:creationId xmlns:a16="http://schemas.microsoft.com/office/drawing/2014/main" id="{D4BB144A-BF9E-4B42-B5CE-5416E26B94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368" y="468926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0" name="Symbol zastępczy tekstu 2">
            <a:extLst>
              <a:ext uri="{FF2B5EF4-FFF2-40B4-BE49-F238E27FC236}">
                <a16:creationId xmlns:a16="http://schemas.microsoft.com/office/drawing/2014/main" id="{FDCCE525-69AD-4E9C-8CE2-1BE3538DAA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368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1" name="Symbol zastępczy tekstu 2">
            <a:extLst>
              <a:ext uri="{FF2B5EF4-FFF2-40B4-BE49-F238E27FC236}">
                <a16:creationId xmlns:a16="http://schemas.microsoft.com/office/drawing/2014/main" id="{95951527-722B-49E1-9B50-58ED925F62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6085" y="152078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22" name="Symbol zastępczy tekstu 2">
            <a:extLst>
              <a:ext uri="{FF2B5EF4-FFF2-40B4-BE49-F238E27FC236}">
                <a16:creationId xmlns:a16="http://schemas.microsoft.com/office/drawing/2014/main" id="{E589AD80-9824-4E62-BBB5-0756918E4C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5440" y="2313004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23" name="Symbol zastępczy tekstu 2">
            <a:extLst>
              <a:ext uri="{FF2B5EF4-FFF2-40B4-BE49-F238E27FC236}">
                <a16:creationId xmlns:a16="http://schemas.microsoft.com/office/drawing/2014/main" id="{601977FB-D13A-4BF7-9B5D-B79C019660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6085" y="31050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24" name="Symbol zastępczy tekstu 2">
            <a:extLst>
              <a:ext uri="{FF2B5EF4-FFF2-40B4-BE49-F238E27FC236}">
                <a16:creationId xmlns:a16="http://schemas.microsoft.com/office/drawing/2014/main" id="{A9A5F647-F0FD-4E3B-A4C7-47FD4646815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6085" y="3897180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25" name="Symbol zastępczy tekstu 2">
            <a:extLst>
              <a:ext uri="{FF2B5EF4-FFF2-40B4-BE49-F238E27FC236}">
                <a16:creationId xmlns:a16="http://schemas.microsoft.com/office/drawing/2014/main" id="{AA4477D4-26DA-4944-A1CE-15782AB43E6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6085" y="468926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26" name="Symbol zastępczy tekstu 2">
            <a:extLst>
              <a:ext uri="{FF2B5EF4-FFF2-40B4-BE49-F238E27FC236}">
                <a16:creationId xmlns:a16="http://schemas.microsoft.com/office/drawing/2014/main" id="{3517444B-543B-4C6C-9279-2ED7BF0993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6085" y="54812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27" name="Symbol zastępczy tekstu 2">
            <a:extLst>
              <a:ext uri="{FF2B5EF4-FFF2-40B4-BE49-F238E27FC236}">
                <a16:creationId xmlns:a16="http://schemas.microsoft.com/office/drawing/2014/main" id="{CE039690-9ECE-4AB1-A3C0-66B4CA89BEF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11379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8" name="Symbol zastępczy tekstu 2">
            <a:extLst>
              <a:ext uri="{FF2B5EF4-FFF2-40B4-BE49-F238E27FC236}">
                <a16:creationId xmlns:a16="http://schemas.microsoft.com/office/drawing/2014/main" id="{7270A56F-30AE-43F8-8D9C-773579ECA0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0734" y="23130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9" name="Symbol zastępczy tekstu 2">
            <a:extLst>
              <a:ext uri="{FF2B5EF4-FFF2-40B4-BE49-F238E27FC236}">
                <a16:creationId xmlns:a16="http://schemas.microsoft.com/office/drawing/2014/main" id="{02322EE6-B48C-47E6-BC1B-6102065D98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1379" y="31050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30" name="Symbol zastępczy tekstu 2">
            <a:extLst>
              <a:ext uri="{FF2B5EF4-FFF2-40B4-BE49-F238E27FC236}">
                <a16:creationId xmlns:a16="http://schemas.microsoft.com/office/drawing/2014/main" id="{9D4557B8-A49A-458D-ADBF-B719FF9BC6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11379" y="389718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31" name="Symbol zastępczy tekstu 2">
            <a:extLst>
              <a:ext uri="{FF2B5EF4-FFF2-40B4-BE49-F238E27FC236}">
                <a16:creationId xmlns:a16="http://schemas.microsoft.com/office/drawing/2014/main" id="{86BFF05E-ED67-4096-9E5D-A0C0C2F0037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11379" y="468926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32" name="Symbol zastępczy tekstu 2">
            <a:extLst>
              <a:ext uri="{FF2B5EF4-FFF2-40B4-BE49-F238E27FC236}">
                <a16:creationId xmlns:a16="http://schemas.microsoft.com/office/drawing/2014/main" id="{B1C15EC8-9485-400C-9B21-8C88ABDCE33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11379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33" name="Symbol zastępczy tekstu 2">
            <a:extLst>
              <a:ext uri="{FF2B5EF4-FFF2-40B4-BE49-F238E27FC236}">
                <a16:creationId xmlns:a16="http://schemas.microsoft.com/office/drawing/2014/main" id="{A2307B4E-1493-4587-8B1D-095FEA8A046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60096" y="152078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34" name="Symbol zastępczy tekstu 2">
            <a:extLst>
              <a:ext uri="{FF2B5EF4-FFF2-40B4-BE49-F238E27FC236}">
                <a16:creationId xmlns:a16="http://schemas.microsoft.com/office/drawing/2014/main" id="{45BE9BA3-27A7-4128-9276-465A4F0E902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9451" y="2313004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35" name="Symbol zastępczy tekstu 2">
            <a:extLst>
              <a:ext uri="{FF2B5EF4-FFF2-40B4-BE49-F238E27FC236}">
                <a16:creationId xmlns:a16="http://schemas.microsoft.com/office/drawing/2014/main" id="{4364BFBF-1F35-47D6-A344-E3CD2119FED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960096" y="31050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36" name="Symbol zastępczy tekstu 2">
            <a:extLst>
              <a:ext uri="{FF2B5EF4-FFF2-40B4-BE49-F238E27FC236}">
                <a16:creationId xmlns:a16="http://schemas.microsoft.com/office/drawing/2014/main" id="{1E164401-E487-460D-B215-7E55E14CBA8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60096" y="3897180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37" name="Symbol zastępczy tekstu 2">
            <a:extLst>
              <a:ext uri="{FF2B5EF4-FFF2-40B4-BE49-F238E27FC236}">
                <a16:creationId xmlns:a16="http://schemas.microsoft.com/office/drawing/2014/main" id="{9502F8AC-B41D-40A4-91E3-D97092267B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60096" y="468926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  <p:sp>
        <p:nvSpPr>
          <p:cNvPr id="38" name="Symbol zastępczy tekstu 2">
            <a:extLst>
              <a:ext uri="{FF2B5EF4-FFF2-40B4-BE49-F238E27FC236}">
                <a16:creationId xmlns:a16="http://schemas.microsoft.com/office/drawing/2014/main" id="{16921B21-93F0-4394-9762-9CFF3D75A7C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960096" y="54812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32561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50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sz="2489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741737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741737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der Präsentation</a:t>
            </a:r>
            <a:br>
              <a:rPr lang="de-DE"/>
            </a:br>
            <a:r>
              <a:rPr lang="de-DE"/>
              <a:t>(in 1-2 Zeilen)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</a:t>
            </a:r>
          </a:p>
          <a:p>
            <a:pPr lvl="6"/>
            <a:r>
              <a:rPr lang="de-DE"/>
              <a:t>Sieben</a:t>
            </a:r>
          </a:p>
          <a:p>
            <a:pPr lvl="7"/>
            <a:r>
              <a:rPr lang="de-DE"/>
              <a:t>Acht</a:t>
            </a:r>
          </a:p>
          <a:p>
            <a:pPr lvl="8"/>
            <a:r>
              <a:rPr lang="de-DE"/>
              <a:t>Neun</a:t>
            </a:r>
          </a:p>
        </p:txBody>
      </p:sp>
      <p:pic>
        <p:nvPicPr>
          <p:cNvPr id="5" name="Grafik 5">
            <a:extLst>
              <a:ext uri="{FF2B5EF4-FFF2-40B4-BE49-F238E27FC236}">
                <a16:creationId xmlns:a16="http://schemas.microsoft.com/office/drawing/2014/main" id="{77A0086D-D9EE-0E17-4305-0A990079A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1027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0D220DD7-7D89-4F54-9A78-122077A9C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6648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0D220DD7-7D89-4F54-9A78-122077A9C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656000" y="3880374"/>
            <a:ext cx="8856000" cy="576000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nl-NL" noProof="0"/>
              <a:t>Presentatietitel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36000" y="4734835"/>
            <a:ext cx="885600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nl-NL" noProof="0"/>
              <a:t>Ondertitel van de presentatie</a:t>
            </a:r>
            <a:br>
              <a:rPr lang="nl-NL" noProof="0"/>
            </a:br>
            <a:r>
              <a:rPr lang="nl-NL" noProof="0"/>
              <a:t>(op 1-2 regels)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 noProof="0"/>
              <a:t>Locatie, </a:t>
            </a:r>
            <a:r>
              <a:rPr lang="nl-NL" noProof="0" err="1"/>
              <a:t>xx.maand.xxxx</a:t>
            </a:r>
            <a:endParaRPr lang="nl-NL" noProof="0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nl-NL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0476DF1-9CDC-44D7-8634-DE84BA8EDCB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1"/>
            <a:ext cx="12192000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D891D26-46ED-4182-9EED-C6651B17C92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953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A85DE8FC-85EB-49B6-98E6-059ECFBD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7187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A85DE8FC-85EB-49B6-98E6-059ECFBD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7417370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741737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Untertitel der Präsentation</a:t>
            </a:r>
            <a:br>
              <a:rPr lang="de-DE"/>
            </a:br>
            <a:r>
              <a:rPr lang="de-DE"/>
              <a:t>(in 1-2 Zeilen)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</a:t>
            </a:r>
          </a:p>
          <a:p>
            <a:pPr lvl="6"/>
            <a:r>
              <a:rPr lang="de-DE"/>
              <a:t>Sieben</a:t>
            </a:r>
          </a:p>
          <a:p>
            <a:pPr lvl="7"/>
            <a:r>
              <a:rPr lang="de-DE"/>
              <a:t>Acht</a:t>
            </a:r>
          </a:p>
          <a:p>
            <a:pPr lvl="8"/>
            <a:r>
              <a:rPr lang="de-DE"/>
              <a:t>Neu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17F6300-15B3-EE49-38B8-338EB86FD82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835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4537075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4537075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Untertitel der Präsentation</a:t>
            </a:r>
            <a:br>
              <a:rPr lang="de-DE"/>
            </a:br>
            <a:r>
              <a:rPr lang="de-DE"/>
              <a:t>(in 1-2 Zeilen)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</a:t>
            </a:r>
          </a:p>
          <a:p>
            <a:pPr lvl="6"/>
            <a:r>
              <a:rPr lang="de-DE"/>
              <a:t>Sieben</a:t>
            </a:r>
          </a:p>
          <a:p>
            <a:pPr lvl="7"/>
            <a:r>
              <a:rPr lang="de-DE"/>
              <a:t>Acht</a:t>
            </a:r>
          </a:p>
          <a:p>
            <a:pPr lvl="8"/>
            <a:r>
              <a:rPr lang="de-DE"/>
              <a:t>Neu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2" y="0"/>
            <a:ext cx="4008437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pic>
        <p:nvPicPr>
          <p:cNvPr id="5" name="Grafik 5">
            <a:extLst>
              <a:ext uri="{FF2B5EF4-FFF2-40B4-BE49-F238E27FC236}">
                <a16:creationId xmlns:a16="http://schemas.microsoft.com/office/drawing/2014/main" id="{7D3B4E5D-B385-7BB0-8716-429D4B607C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3008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F86DD87C-3A58-45E5-8112-44900FCBFC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7730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F86DD87C-3A58-45E5-8112-44900FCBF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4537075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Titel der Präsentation</a:t>
            </a:r>
            <a:br>
              <a:rPr lang="de-DE"/>
            </a:br>
            <a:r>
              <a:rPr lang="de-DE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4537075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Untertitel der Präsentation</a:t>
            </a:r>
            <a:br>
              <a:rPr lang="de-DE"/>
            </a:br>
            <a:r>
              <a:rPr lang="de-DE"/>
              <a:t>(in 1-2 Zeilen)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</a:t>
            </a:r>
          </a:p>
          <a:p>
            <a:pPr lvl="6"/>
            <a:r>
              <a:rPr lang="de-DE"/>
              <a:t>Sieben</a:t>
            </a:r>
          </a:p>
          <a:p>
            <a:pPr lvl="7"/>
            <a:r>
              <a:rPr lang="de-DE"/>
              <a:t>Acht</a:t>
            </a:r>
          </a:p>
          <a:p>
            <a:pPr lvl="8"/>
            <a:r>
              <a:rPr lang="de-DE"/>
              <a:t>Neu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2" y="0"/>
            <a:ext cx="4008437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56EC02B-6CF5-94B1-BFB6-A16D66A576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8579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102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11376025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3386827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6C32A24-1D2F-41A7-87DA-EE021ABD9D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4627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6C32A24-1D2F-41A7-87DA-EE021ABD9D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6312632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4225795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18E44A-F63E-4819-AF26-29E2960B6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54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818E44A-F63E-4819-AF26-29E2960B6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6792"/>
            <a:ext cx="3600000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295800" y="1557213"/>
            <a:ext cx="3600000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EC89F919-1B13-4706-A895-5230C18E4967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8184632" y="1557338"/>
            <a:ext cx="3600000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924692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15C34BC-9550-479A-8EB8-445796C51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039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15C34BC-9550-479A-8EB8-445796C51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5472112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9" y="6165328"/>
            <a:ext cx="5472732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9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404696"/>
            <a:ext cx="5471468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6311900" y="0"/>
            <a:ext cx="5880099" cy="6858000"/>
          </a:xfrm>
          <a:prstGeom prst="rect">
            <a:avLst/>
          </a:prstGeom>
          <a:solidFill>
            <a:srgbClr val="0050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/>
          </a:p>
        </p:txBody>
      </p:sp>
      <p:pic>
        <p:nvPicPr>
          <p:cNvPr id="3" name="Grafik 5">
            <a:extLst>
              <a:ext uri="{FF2B5EF4-FFF2-40B4-BE49-F238E27FC236}">
                <a16:creationId xmlns:a16="http://schemas.microsoft.com/office/drawing/2014/main" id="{C1E48E58-B6F3-5BE9-99F0-9210487FBE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339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3D06834-44FF-4BAC-9D0E-C47BE5975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344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3D06834-44FF-4BAC-9D0E-C47BE5975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7488237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748885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748759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8183562" y="0"/>
            <a:ext cx="4008437" cy="6858000"/>
          </a:xfrm>
          <a:prstGeom prst="rect">
            <a:avLst/>
          </a:prstGeom>
          <a:solidFill>
            <a:srgbClr val="0050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/>
          </a:p>
        </p:txBody>
      </p:sp>
      <p:pic>
        <p:nvPicPr>
          <p:cNvPr id="2" name="Grafik 5">
            <a:extLst>
              <a:ext uri="{FF2B5EF4-FFF2-40B4-BE49-F238E27FC236}">
                <a16:creationId xmlns:a16="http://schemas.microsoft.com/office/drawing/2014/main" id="{536BC8AF-1BAD-BAFA-EC7E-7782DA83EC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114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889991-D7C3-47DC-A0E7-496256CBD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476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9889991-D7C3-47DC-A0E7-496256CBD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73FAEC6-8B23-4327-9DFE-B48C2DF8A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90548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uziert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4514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116632"/>
            <a:ext cx="11376000" cy="288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de-DE"/>
              <a:t>Bitte nur nutzen, wenn große Kreuz- oder Kennzahlentabellen eingesetzt werden,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71EB2444-B66C-4C40-A38B-0D92751C70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7" y="477000"/>
            <a:ext cx="11376025" cy="432000"/>
          </a:xfrm>
        </p:spPr>
        <p:txBody>
          <a:bodyPr/>
          <a:lstStyle>
            <a:lvl1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die in den anderen Layouts nicht ausreichend Platz habe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686397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000" y="5756590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Titel toevoeg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Toevoeging aan de titel van de dia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nl-NL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nl-NL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nl-NL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nl-NL"/>
              <a:t>niveau</a:t>
            </a:r>
            <a:endParaRPr lang="nl-NL" noProof="0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28E39D0B-1C52-4219-A4C5-3BA3C06246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nl-NL"/>
              <a:t>00</a:t>
            </a:r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C66FBA54-DA02-4D9A-A991-C7CA2B37F8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723" y="231294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nl-NL"/>
              <a:t>00</a:t>
            </a:r>
          </a:p>
        </p:txBody>
      </p:sp>
      <p:sp>
        <p:nvSpPr>
          <p:cNvPr id="16" name="Symbol zastępczy tekstu 2">
            <a:extLst>
              <a:ext uri="{FF2B5EF4-FFF2-40B4-BE49-F238E27FC236}">
                <a16:creationId xmlns:a16="http://schemas.microsoft.com/office/drawing/2014/main" id="{3F338573-B2E3-4920-9CC7-DE173BAE7F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368" y="310502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nl-NL"/>
              <a:t>00</a:t>
            </a:r>
          </a:p>
        </p:txBody>
      </p:sp>
      <p:sp>
        <p:nvSpPr>
          <p:cNvPr id="17" name="Symbol zastępczy tekstu 2">
            <a:extLst>
              <a:ext uri="{FF2B5EF4-FFF2-40B4-BE49-F238E27FC236}">
                <a16:creationId xmlns:a16="http://schemas.microsoft.com/office/drawing/2014/main" id="{024A7887-1F28-4B02-A601-318D1D0FBC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368" y="3897116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nl-NL"/>
              <a:t>00</a:t>
            </a:r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2603ECC3-DCAB-40EC-90CE-A360637028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368" y="46892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nl-NL"/>
              <a:t>00</a:t>
            </a:r>
          </a:p>
        </p:txBody>
      </p:sp>
      <p:sp>
        <p:nvSpPr>
          <p:cNvPr id="19" name="Symbol zastępczy tekstu 2">
            <a:extLst>
              <a:ext uri="{FF2B5EF4-FFF2-40B4-BE49-F238E27FC236}">
                <a16:creationId xmlns:a16="http://schemas.microsoft.com/office/drawing/2014/main" id="{9CA4ED02-E7A4-4F72-9352-D95AB1314A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368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nl-NL"/>
              <a:t>00</a:t>
            </a:r>
          </a:p>
        </p:txBody>
      </p:sp>
      <p:sp>
        <p:nvSpPr>
          <p:cNvPr id="20" name="Symbol zastępczy tekstu 2">
            <a:extLst>
              <a:ext uri="{FF2B5EF4-FFF2-40B4-BE49-F238E27FC236}">
                <a16:creationId xmlns:a16="http://schemas.microsoft.com/office/drawing/2014/main" id="{30E3E7CD-8D3B-4518-82EB-DBA4D20F41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6085" y="152078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tekst te bewerken</a:t>
            </a:r>
          </a:p>
        </p:txBody>
      </p:sp>
      <p:sp>
        <p:nvSpPr>
          <p:cNvPr id="21" name="Symbol zastępczy tekstu 2">
            <a:extLst>
              <a:ext uri="{FF2B5EF4-FFF2-40B4-BE49-F238E27FC236}">
                <a16:creationId xmlns:a16="http://schemas.microsoft.com/office/drawing/2014/main" id="{BB058CB8-845E-4715-901A-A96D17FAC8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5440" y="2312940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tekst te bewerken</a:t>
            </a:r>
          </a:p>
        </p:txBody>
      </p:sp>
      <p:sp>
        <p:nvSpPr>
          <p:cNvPr id="22" name="Symbol zastępczy tekstu 2">
            <a:extLst>
              <a:ext uri="{FF2B5EF4-FFF2-40B4-BE49-F238E27FC236}">
                <a16:creationId xmlns:a16="http://schemas.microsoft.com/office/drawing/2014/main" id="{31E05F14-8EB7-42D4-8828-79EF4F8C8A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6085" y="310502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tekst te bewerken</a:t>
            </a:r>
          </a:p>
        </p:txBody>
      </p:sp>
      <p:sp>
        <p:nvSpPr>
          <p:cNvPr id="23" name="Symbol zastępczy tekstu 2">
            <a:extLst>
              <a:ext uri="{FF2B5EF4-FFF2-40B4-BE49-F238E27FC236}">
                <a16:creationId xmlns:a16="http://schemas.microsoft.com/office/drawing/2014/main" id="{31AE3CDC-9DCC-4936-8F1B-6CC168383A2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6085" y="3897116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tekst te bewerken</a:t>
            </a:r>
          </a:p>
        </p:txBody>
      </p:sp>
      <p:sp>
        <p:nvSpPr>
          <p:cNvPr id="24" name="Symbol zastępczy tekstu 2">
            <a:extLst>
              <a:ext uri="{FF2B5EF4-FFF2-40B4-BE49-F238E27FC236}">
                <a16:creationId xmlns:a16="http://schemas.microsoft.com/office/drawing/2014/main" id="{61F9105D-D12A-4295-81A9-CF18E5F6909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6085" y="4689204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tekst te bewerken</a:t>
            </a:r>
          </a:p>
        </p:txBody>
      </p:sp>
      <p:sp>
        <p:nvSpPr>
          <p:cNvPr id="25" name="Symbol zastępczy tekstu 2">
            <a:extLst>
              <a:ext uri="{FF2B5EF4-FFF2-40B4-BE49-F238E27FC236}">
                <a16:creationId xmlns:a16="http://schemas.microsoft.com/office/drawing/2014/main" id="{99FA460E-8F7C-4F14-9897-889DCBFB8FA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6085" y="548122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tekst te bewerk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11656CC-B740-40B2-BF86-0F1C567F7B2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algn="l"/>
            <a:r>
              <a:rPr lang="nl-NL"/>
              <a:t>XX maand 202X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D280A6-24DF-40A4-8E35-928172BDC4E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nl-NL"/>
              <a:t>PowerPoint Master</a:t>
            </a:r>
            <a:endParaRPr lang="nl-NL" b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2EBAF2-0ED0-4401-98FE-0538FEC8A3F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1891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12191999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pic>
        <p:nvPicPr>
          <p:cNvPr id="2" name="Logos_BBDO_white.png" descr="Logos_BBDO_white.png">
            <a:extLst>
              <a:ext uri="{FF2B5EF4-FFF2-40B4-BE49-F238E27FC236}">
                <a16:creationId xmlns:a16="http://schemas.microsoft.com/office/drawing/2014/main" id="{640E8364-E03D-C382-A1FD-5439494ABE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59642" y="6297647"/>
            <a:ext cx="733770" cy="22204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785483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916A45A-EC1B-4CC7-A5E6-073835D9E6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67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916A45A-EC1B-4CC7-A5E6-073835D9E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0"/>
            <a:ext cx="5879975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pic>
        <p:nvPicPr>
          <p:cNvPr id="3" name="Logos_BBDO_white.png" descr="Logos_BBDO_white.png">
            <a:extLst>
              <a:ext uri="{FF2B5EF4-FFF2-40B4-BE49-F238E27FC236}">
                <a16:creationId xmlns:a16="http://schemas.microsoft.com/office/drawing/2014/main" id="{6AE021E0-78FB-5349-ABFD-0A1138D765A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059642" y="6297647"/>
            <a:ext cx="733770" cy="22204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11473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01794039-6EE9-42EA-AEBC-3793E6922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2098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01794039-6EE9-42EA-AEBC-3793E6922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312025" y="3429000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1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pic>
        <p:nvPicPr>
          <p:cNvPr id="2" name="Logos_BBDO_white.png" descr="Logos_BBDO_white.png">
            <a:extLst>
              <a:ext uri="{FF2B5EF4-FFF2-40B4-BE49-F238E27FC236}">
                <a16:creationId xmlns:a16="http://schemas.microsoft.com/office/drawing/2014/main" id="{B176594F-9C35-99B8-02B5-391AF9DD24C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059642" y="6297647"/>
            <a:ext cx="733770" cy="22204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14511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F5914911-BEE2-4A92-94B8-B86F36789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272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F5914911-BEE2-4A92-94B8-B86F36789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312025" y="3429000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1"/>
            <a:ext cx="3097089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9FB83DFD-5A5B-4FEC-89F4-CBBAD40D217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9409113" y="0"/>
            <a:ext cx="2782887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pic>
        <p:nvPicPr>
          <p:cNvPr id="2" name="Logos_BBDO_white.png" descr="Logos_BBDO_white.png">
            <a:extLst>
              <a:ext uri="{FF2B5EF4-FFF2-40B4-BE49-F238E27FC236}">
                <a16:creationId xmlns:a16="http://schemas.microsoft.com/office/drawing/2014/main" id="{41F6920D-00E2-2023-E6C2-A8AA266F0BF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059642" y="6297647"/>
            <a:ext cx="733770" cy="22204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80069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720CC2A-69E5-4868-B716-9775A7ECA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6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720CC2A-69E5-4868-B716-9775A7ECA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1DBD824E-7BD9-42EB-A741-717B9ED9C6A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183563" y="4590000"/>
            <a:ext cx="4008437" cy="226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7488236" cy="1296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165328"/>
            <a:ext cx="748885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7488857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1" y="404696"/>
            <a:ext cx="748759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3" y="0"/>
            <a:ext cx="4008437" cy="226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8183563" y="2268000"/>
            <a:ext cx="4008437" cy="2322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C8C35B0-D28C-470A-9370-CD75020BFE3D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 bwMode="gray">
          <a:xfrm>
            <a:off x="407989" y="3140968"/>
            <a:ext cx="7488236" cy="1296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34C99758-AEB9-4B74-A583-4F20E16B1F20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 bwMode="gray">
          <a:xfrm>
            <a:off x="407989" y="4725144"/>
            <a:ext cx="7488000" cy="1296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pic>
        <p:nvPicPr>
          <p:cNvPr id="3" name="Logos_BBDO_white.png" descr="Logos_BBDO_white.png">
            <a:extLst>
              <a:ext uri="{FF2B5EF4-FFF2-40B4-BE49-F238E27FC236}">
                <a16:creationId xmlns:a16="http://schemas.microsoft.com/office/drawing/2014/main" id="{4D7336DB-9624-88D8-2929-77DA8D27851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059642" y="6297647"/>
            <a:ext cx="733770" cy="22204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36915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296421" y="4077072"/>
            <a:ext cx="3599779" cy="194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8184232" y="4077072"/>
            <a:ext cx="3599779" cy="194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4077072"/>
            <a:ext cx="3599779" cy="194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165328"/>
            <a:ext cx="11376645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1137664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557040"/>
            <a:ext cx="4187788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4187785" y="1557040"/>
            <a:ext cx="3816431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8004216" y="1557040"/>
            <a:ext cx="4187784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4110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  <p15:guide id="3" orient="horz" pos="24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C4CD7F-32FC-4BB4-BA7E-179B0107D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8696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C4CD7F-32FC-4BB4-BA7E-179B0107D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8AAAFE53-B217-4863-83D4-FC060BAB860C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9264632" y="3573564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eingeben; eingerichtete Textebenen wechseln mit den Buttons „Listenebene erhöhen/verringern“ </a:t>
            </a:r>
            <a:br>
              <a:rPr lang="de-DE"/>
            </a:br>
            <a:r>
              <a:rPr lang="de-DE"/>
              <a:t>im Register „Start“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3359696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eingeben; eingerichtete Textebenen wechseln mit den Buttons „Listenebene erhöhen/verringern“ </a:t>
            </a:r>
            <a:br>
              <a:rPr lang="de-DE"/>
            </a:br>
            <a:r>
              <a:rPr lang="de-DE"/>
              <a:t>im Register „Start“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6312024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eingeben; eingerichtete Textebenen wechseln mit den Buttons „Listenebene erhöhen/verringern“</a:t>
            </a:r>
            <a:br>
              <a:rPr lang="de-DE"/>
            </a:br>
            <a:r>
              <a:rPr lang="de-DE"/>
              <a:t>im Register „Start“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 eingeben; eingerichtete Textebenen wechseln mit den Buttons „Listenebene erhöhen/verringern“ </a:t>
            </a:r>
            <a:br>
              <a:rPr lang="de-DE"/>
            </a:br>
            <a:r>
              <a:rPr lang="de-DE"/>
              <a:t>im Register „Start“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Fußnote/Quellenangab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1137664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/>
              <a:t>Zusatz zum Folientitel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556792"/>
            <a:ext cx="3059995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59995" y="1556792"/>
            <a:ext cx="3044002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6103997" y="1556792"/>
            <a:ext cx="3044001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C14F9E91-B48F-4001-B73E-2BE94299F49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9147998" y="1556792"/>
            <a:ext cx="3044001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0795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  <p15:guide id="3" orient="horz" pos="2115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612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>
              <a:lnSpc>
                <a:spcPct val="120000"/>
              </a:lnSpc>
            </a:pPr>
            <a:endParaRPr lang="de-DE" sz="2489"/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368" y="489372"/>
            <a:ext cx="8856000" cy="1224136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Vielen Dan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72328" y="2852936"/>
            <a:ext cx="4176000" cy="273630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r>
              <a:rPr lang="de-DE"/>
              <a:t>Vorname Nach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368" y="2852936"/>
            <a:ext cx="4176000" cy="2736304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Vorname Nach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437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941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63625631-77D4-4415-8C98-9A89D4FE6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5904503"/>
            <a:ext cx="252000" cy="252000"/>
          </a:xfrm>
          <a:blipFill>
            <a:blip r:embed="rId6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8A99C9-A31A-481D-B782-83F10A2E4D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72328" y="5904503"/>
            <a:ext cx="252000" cy="252000"/>
          </a:xfrm>
          <a:blipFill>
            <a:blip r:embed="rId6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CEB30A4-05EE-4442-B513-54D1C0A043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368" y="6213031"/>
            <a:ext cx="252000" cy="252000"/>
          </a:xfrm>
          <a:blipFill dpi="0" rotWithShape="1">
            <a:blip r:embed="rId7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711923E-2A99-4720-8987-F4B56C573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72328" y="6213031"/>
            <a:ext cx="252000" cy="252000"/>
          </a:xfrm>
          <a:blipFill dpi="0" rotWithShape="1">
            <a:blip r:embed="rId7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8ACC2CD-6F0E-4062-8645-C9CC0349098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B00AA7-4947-4D86-9AB4-F87CC9DEEA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0437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E-Mail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41B0BE8-B4D6-42BB-A617-E1D546C16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941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622946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49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368" y="489372"/>
            <a:ext cx="8856000" cy="1224136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Vielen Dan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72328" y="2852936"/>
            <a:ext cx="4176000" cy="273630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9pPr>
          </a:lstStyle>
          <a:p>
            <a:r>
              <a:rPr lang="de-DE"/>
              <a:t>Vorname Nach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368" y="2852936"/>
            <a:ext cx="4176000" cy="2736304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/>
              <a:t>Vorname Nach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437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941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Tel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63625631-77D4-4415-8C98-9A89D4FE6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5904503"/>
            <a:ext cx="252000" cy="252000"/>
          </a:xfrm>
          <a:blipFill>
            <a:blip r:embed="rId6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8A99C9-A31A-481D-B782-83F10A2E4D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72328" y="5904503"/>
            <a:ext cx="252000" cy="252000"/>
          </a:xfrm>
          <a:blipFill>
            <a:blip r:embed="rId6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CEB30A4-05EE-4442-B513-54D1C0A043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368" y="6213031"/>
            <a:ext cx="252000" cy="252000"/>
          </a:xfrm>
          <a:blipFill dpi="0" rotWithShape="1">
            <a:blip r:embed="rId7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711923E-2A99-4720-8987-F4B56C573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72328" y="6213031"/>
            <a:ext cx="252000" cy="252000"/>
          </a:xfrm>
          <a:blipFill dpi="0" rotWithShape="1">
            <a:blip r:embed="rId7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8ACC2CD-6F0E-4062-8645-C9CC0349098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B00AA7-4947-4D86-9AB4-F87CC9DEEA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0437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E-Mail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41B0BE8-B4D6-42BB-A617-E1D546C16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941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>
                <a:latin typeface="+mn-lt"/>
              </a:rPr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2185360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bg>
      <p:bgPr>
        <a:solidFill>
          <a:srgbClr val="0050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A1017C2-DBB3-4119-99A7-970AB05DF8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7389" y="2205004"/>
            <a:ext cx="2452935" cy="24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627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3793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nl-NL"/>
              <a:t>Voetnoot/bronreferenti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 </a:t>
            </a:r>
            <a:r>
              <a:rPr lang="de-DE" err="1"/>
              <a:t>toevoegen</a:t>
            </a:r>
            <a:endParaRPr lang="de-DE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err="1"/>
              <a:t>Toevoeging</a:t>
            </a:r>
            <a:r>
              <a:rPr lang="en-US"/>
              <a:t> </a:t>
            </a:r>
            <a:r>
              <a:rPr lang="en-US" err="1"/>
              <a:t>aan</a:t>
            </a:r>
            <a:r>
              <a:rPr lang="en-US"/>
              <a:t> de </a:t>
            </a:r>
            <a:r>
              <a:rPr lang="en-US" err="1"/>
              <a:t>titel</a:t>
            </a:r>
            <a:r>
              <a:rPr lang="en-US"/>
              <a:t> van de </a:t>
            </a:r>
            <a:r>
              <a:rPr lang="en-US" err="1"/>
              <a:t>dia</a:t>
            </a:r>
            <a:endParaRPr lang="en-US"/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</a:t>
            </a:r>
            <a:r>
              <a:rPr lang="de-DE" err="1"/>
              <a:t>niveau</a:t>
            </a:r>
            <a:endParaRPr lang="nl-NL" noProof="0"/>
          </a:p>
          <a:p>
            <a:pPr lvl="6"/>
            <a:r>
              <a:rPr lang="nl-NL" noProof="0"/>
              <a:t>Zevende </a:t>
            </a:r>
            <a:r>
              <a:rPr lang="de-DE" err="1"/>
              <a:t>niveau</a:t>
            </a:r>
            <a:endParaRPr lang="nl-NL" noProof="0"/>
          </a:p>
          <a:p>
            <a:pPr lvl="7"/>
            <a:r>
              <a:rPr lang="nl-NL" noProof="0"/>
              <a:t>Achtste </a:t>
            </a:r>
            <a:r>
              <a:rPr lang="de-DE" err="1"/>
              <a:t>niveau</a:t>
            </a:r>
            <a:endParaRPr lang="nl-NL" noProof="0"/>
          </a:p>
          <a:p>
            <a:pPr lvl="8"/>
            <a:r>
              <a:rPr lang="nl-NL" noProof="0"/>
              <a:t>Negende </a:t>
            </a:r>
            <a:r>
              <a:rPr lang="de-DE" err="1"/>
              <a:t>niveau</a:t>
            </a:r>
            <a:endParaRPr lang="de-DE"/>
          </a:p>
        </p:txBody>
      </p:sp>
      <p:sp>
        <p:nvSpPr>
          <p:cNvPr id="8" name="Symbol zastępczy daty 7">
            <a:extLst>
              <a:ext uri="{FF2B5EF4-FFF2-40B4-BE49-F238E27FC236}">
                <a16:creationId xmlns:a16="http://schemas.microsoft.com/office/drawing/2014/main" id="{C204B1AB-3245-49E5-A127-014AEAC61F6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9" name="Symbol zastępczy stopki 8">
            <a:extLst>
              <a:ext uri="{FF2B5EF4-FFF2-40B4-BE49-F238E27FC236}">
                <a16:creationId xmlns:a16="http://schemas.microsoft.com/office/drawing/2014/main" id="{E9945776-74E6-4B6A-8220-094828B4ED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</a:p>
        </p:txBody>
      </p:sp>
      <p:sp>
        <p:nvSpPr>
          <p:cNvPr id="11" name="Symbol zastępczy numeru slajdu 10">
            <a:extLst>
              <a:ext uri="{FF2B5EF4-FFF2-40B4-BE49-F238E27FC236}">
                <a16:creationId xmlns:a16="http://schemas.microsoft.com/office/drawing/2014/main" id="{1983C97C-1699-434E-88A0-1FE9DAC0309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AF207A56-7104-41FC-A9EE-BC6FA7982A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6" name="Symbol zastępczy tekstu 2">
            <a:extLst>
              <a:ext uri="{FF2B5EF4-FFF2-40B4-BE49-F238E27FC236}">
                <a16:creationId xmlns:a16="http://schemas.microsoft.com/office/drawing/2014/main" id="{09A1A87F-801A-4454-959B-3707F803F8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723" y="23130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7" name="Symbol zastępczy tekstu 2">
            <a:extLst>
              <a:ext uri="{FF2B5EF4-FFF2-40B4-BE49-F238E27FC236}">
                <a16:creationId xmlns:a16="http://schemas.microsoft.com/office/drawing/2014/main" id="{C370DAE5-371F-4850-A35E-1F834D69F6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368" y="31050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331AE295-E638-40D5-A256-CF1A02346B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368" y="389718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9" name="Symbol zastępczy tekstu 2">
            <a:extLst>
              <a:ext uri="{FF2B5EF4-FFF2-40B4-BE49-F238E27FC236}">
                <a16:creationId xmlns:a16="http://schemas.microsoft.com/office/drawing/2014/main" id="{D4BB144A-BF9E-4B42-B5CE-5416E26B94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368" y="468926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0" name="Symbol zastępczy tekstu 2">
            <a:extLst>
              <a:ext uri="{FF2B5EF4-FFF2-40B4-BE49-F238E27FC236}">
                <a16:creationId xmlns:a16="http://schemas.microsoft.com/office/drawing/2014/main" id="{FDCCE525-69AD-4E9C-8CE2-1BE3538DAA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368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1" name="Symbol zastępczy tekstu 2">
            <a:extLst>
              <a:ext uri="{FF2B5EF4-FFF2-40B4-BE49-F238E27FC236}">
                <a16:creationId xmlns:a16="http://schemas.microsoft.com/office/drawing/2014/main" id="{95951527-722B-49E1-9B50-58ED925F62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6085" y="152078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  <p:sp>
        <p:nvSpPr>
          <p:cNvPr id="22" name="Symbol zastępczy tekstu 2">
            <a:extLst>
              <a:ext uri="{FF2B5EF4-FFF2-40B4-BE49-F238E27FC236}">
                <a16:creationId xmlns:a16="http://schemas.microsoft.com/office/drawing/2014/main" id="{E589AD80-9824-4E62-BBB5-0756918E4C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5440" y="2313004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  <p:sp>
        <p:nvSpPr>
          <p:cNvPr id="23" name="Symbol zastępczy tekstu 2">
            <a:extLst>
              <a:ext uri="{FF2B5EF4-FFF2-40B4-BE49-F238E27FC236}">
                <a16:creationId xmlns:a16="http://schemas.microsoft.com/office/drawing/2014/main" id="{601977FB-D13A-4BF7-9B5D-B79C019660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6085" y="31050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  <p:sp>
        <p:nvSpPr>
          <p:cNvPr id="24" name="Symbol zastępczy tekstu 2">
            <a:extLst>
              <a:ext uri="{FF2B5EF4-FFF2-40B4-BE49-F238E27FC236}">
                <a16:creationId xmlns:a16="http://schemas.microsoft.com/office/drawing/2014/main" id="{A9A5F647-F0FD-4E3B-A4C7-47FD4646815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6085" y="3897180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  <p:sp>
        <p:nvSpPr>
          <p:cNvPr id="25" name="Symbol zastępczy tekstu 2">
            <a:extLst>
              <a:ext uri="{FF2B5EF4-FFF2-40B4-BE49-F238E27FC236}">
                <a16:creationId xmlns:a16="http://schemas.microsoft.com/office/drawing/2014/main" id="{AA4477D4-26DA-4944-A1CE-15782AB43E6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6085" y="468926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  <p:sp>
        <p:nvSpPr>
          <p:cNvPr id="26" name="Symbol zastępczy tekstu 2">
            <a:extLst>
              <a:ext uri="{FF2B5EF4-FFF2-40B4-BE49-F238E27FC236}">
                <a16:creationId xmlns:a16="http://schemas.microsoft.com/office/drawing/2014/main" id="{3517444B-543B-4C6C-9279-2ED7BF0993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6085" y="54812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  <p:sp>
        <p:nvSpPr>
          <p:cNvPr id="27" name="Symbol zastępczy tekstu 2">
            <a:extLst>
              <a:ext uri="{FF2B5EF4-FFF2-40B4-BE49-F238E27FC236}">
                <a16:creationId xmlns:a16="http://schemas.microsoft.com/office/drawing/2014/main" id="{CE039690-9ECE-4AB1-A3C0-66B4CA89BEF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11379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8" name="Symbol zastępczy tekstu 2">
            <a:extLst>
              <a:ext uri="{FF2B5EF4-FFF2-40B4-BE49-F238E27FC236}">
                <a16:creationId xmlns:a16="http://schemas.microsoft.com/office/drawing/2014/main" id="{7270A56F-30AE-43F8-8D9C-773579ECA0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0734" y="23130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29" name="Symbol zastępczy tekstu 2">
            <a:extLst>
              <a:ext uri="{FF2B5EF4-FFF2-40B4-BE49-F238E27FC236}">
                <a16:creationId xmlns:a16="http://schemas.microsoft.com/office/drawing/2014/main" id="{02322EE6-B48C-47E6-BC1B-6102065D98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1379" y="31050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30" name="Symbol zastępczy tekstu 2">
            <a:extLst>
              <a:ext uri="{FF2B5EF4-FFF2-40B4-BE49-F238E27FC236}">
                <a16:creationId xmlns:a16="http://schemas.microsoft.com/office/drawing/2014/main" id="{9D4557B8-A49A-458D-ADBF-B719FF9BC6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11379" y="389718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31" name="Symbol zastępczy tekstu 2">
            <a:extLst>
              <a:ext uri="{FF2B5EF4-FFF2-40B4-BE49-F238E27FC236}">
                <a16:creationId xmlns:a16="http://schemas.microsoft.com/office/drawing/2014/main" id="{86BFF05E-ED67-4096-9E5D-A0C0C2F0037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11379" y="468926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32" name="Symbol zastępczy tekstu 2">
            <a:extLst>
              <a:ext uri="{FF2B5EF4-FFF2-40B4-BE49-F238E27FC236}">
                <a16:creationId xmlns:a16="http://schemas.microsoft.com/office/drawing/2014/main" id="{B1C15EC8-9485-400C-9B21-8C88ABDCE33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11379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33" name="Symbol zastępczy tekstu 2">
            <a:extLst>
              <a:ext uri="{FF2B5EF4-FFF2-40B4-BE49-F238E27FC236}">
                <a16:creationId xmlns:a16="http://schemas.microsoft.com/office/drawing/2014/main" id="{A2307B4E-1493-4587-8B1D-095FEA8A046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60096" y="152078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  <p:sp>
        <p:nvSpPr>
          <p:cNvPr id="34" name="Symbol zastępczy tekstu 2">
            <a:extLst>
              <a:ext uri="{FF2B5EF4-FFF2-40B4-BE49-F238E27FC236}">
                <a16:creationId xmlns:a16="http://schemas.microsoft.com/office/drawing/2014/main" id="{45BE9BA3-27A7-4128-9276-465A4F0E902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9451" y="2313004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  <p:sp>
        <p:nvSpPr>
          <p:cNvPr id="35" name="Symbol zastępczy tekstu 2">
            <a:extLst>
              <a:ext uri="{FF2B5EF4-FFF2-40B4-BE49-F238E27FC236}">
                <a16:creationId xmlns:a16="http://schemas.microsoft.com/office/drawing/2014/main" id="{4364BFBF-1F35-47D6-A344-E3CD2119FED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960096" y="31050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  <p:sp>
        <p:nvSpPr>
          <p:cNvPr id="36" name="Symbol zastępczy tekstu 2">
            <a:extLst>
              <a:ext uri="{FF2B5EF4-FFF2-40B4-BE49-F238E27FC236}">
                <a16:creationId xmlns:a16="http://schemas.microsoft.com/office/drawing/2014/main" id="{1E164401-E487-460D-B215-7E55E14CBA8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60096" y="3897180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  <p:sp>
        <p:nvSpPr>
          <p:cNvPr id="37" name="Symbol zastępczy tekstu 2">
            <a:extLst>
              <a:ext uri="{FF2B5EF4-FFF2-40B4-BE49-F238E27FC236}">
                <a16:creationId xmlns:a16="http://schemas.microsoft.com/office/drawing/2014/main" id="{9502F8AC-B41D-40A4-91E3-D97092267B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60096" y="468926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  <p:sp>
        <p:nvSpPr>
          <p:cNvPr id="38" name="Symbol zastępczy tekstu 2">
            <a:extLst>
              <a:ext uri="{FF2B5EF4-FFF2-40B4-BE49-F238E27FC236}">
                <a16:creationId xmlns:a16="http://schemas.microsoft.com/office/drawing/2014/main" id="{16921B21-93F0-4394-9762-9CFF3D75A7C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960096" y="54812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431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B89EB33F-AD6E-4F8D-AC4C-EAB59AC700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000" y="2205004"/>
            <a:ext cx="2452935" cy="24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962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3793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rgbClr val="0050AA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3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11652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sz="2489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741737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noProof="0"/>
              <a:t>Presentatietitel (op 1-2 regels)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741737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nl-NL" noProof="0"/>
              <a:t>Ondertitel van de presentatie</a:t>
            </a:r>
            <a:br>
              <a:rPr lang="nl-NL" noProof="0"/>
            </a:br>
            <a:r>
              <a:rPr lang="nl-NL" noProof="0"/>
              <a:t>(op 1-2 regels)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/>
              <a:t>00</a:t>
            </a:r>
          </a:p>
          <a:p>
            <a:pPr lvl="0"/>
            <a:r>
              <a:rPr lang="nl-NL"/>
              <a:t>Tweede niveau</a:t>
            </a:r>
          </a:p>
          <a:p>
            <a:pPr lvl="0"/>
            <a:r>
              <a:rPr lang="nl-NL"/>
              <a:t>Derde niveau</a:t>
            </a:r>
          </a:p>
          <a:p>
            <a:pPr lvl="0"/>
            <a:r>
              <a:rPr lang="nl-NL"/>
              <a:t>Vierde niveau</a:t>
            </a:r>
          </a:p>
          <a:p>
            <a:pPr lvl="0"/>
            <a:r>
              <a:rPr lang="nl-NL"/>
              <a:t>Vijfde niveau</a:t>
            </a:r>
          </a:p>
          <a:p>
            <a:pPr lvl="0"/>
            <a:r>
              <a:rPr lang="nl-NL"/>
              <a:t>Zes</a:t>
            </a:r>
          </a:p>
          <a:p>
            <a:pPr lvl="0"/>
            <a:r>
              <a:rPr lang="nl-NL"/>
              <a:t>Zeven</a:t>
            </a:r>
          </a:p>
          <a:p>
            <a:pPr lvl="0"/>
            <a:r>
              <a:rPr lang="nl-NL"/>
              <a:t>Acht</a:t>
            </a:r>
          </a:p>
          <a:p>
            <a:pPr lvl="0"/>
            <a:r>
              <a:rPr lang="nl-NL"/>
              <a:t>Negen</a:t>
            </a:r>
          </a:p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24320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A85DE8FC-85EB-49B6-98E6-059ECFBD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7187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A85DE8FC-85EB-49B6-98E6-059ECFBD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7417370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nl-NL" noProof="0"/>
              <a:t>Presentatietitel (op 1-2 regels)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741737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nl-NL" noProof="0"/>
              <a:t>Ondertitel van de presentatie</a:t>
            </a:r>
            <a:br>
              <a:rPr lang="nl-NL" noProof="0"/>
            </a:br>
            <a:r>
              <a:rPr lang="nl-NL" noProof="0"/>
              <a:t>(op 1-2 regels)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nl-NL"/>
              <a:t>00</a:t>
            </a:r>
          </a:p>
          <a:p>
            <a:pPr lvl="0"/>
            <a:r>
              <a:rPr lang="nl-NL"/>
              <a:t>Tweede niveau</a:t>
            </a:r>
          </a:p>
          <a:p>
            <a:pPr lvl="0"/>
            <a:r>
              <a:rPr lang="nl-NL"/>
              <a:t>Derde niveau</a:t>
            </a:r>
          </a:p>
          <a:p>
            <a:pPr lvl="0"/>
            <a:r>
              <a:rPr lang="nl-NL"/>
              <a:t>Vierde niveau</a:t>
            </a:r>
          </a:p>
          <a:p>
            <a:pPr lvl="0"/>
            <a:r>
              <a:rPr lang="nl-NL"/>
              <a:t>Vijfde niveau</a:t>
            </a:r>
          </a:p>
          <a:p>
            <a:pPr lvl="0"/>
            <a:r>
              <a:rPr lang="nl-NL"/>
              <a:t>Zes</a:t>
            </a:r>
          </a:p>
          <a:p>
            <a:pPr lvl="0"/>
            <a:r>
              <a:rPr lang="nl-NL"/>
              <a:t>Zeven</a:t>
            </a:r>
          </a:p>
          <a:p>
            <a:pPr lvl="0"/>
            <a:r>
              <a:rPr lang="nl-NL"/>
              <a:t>Acht</a:t>
            </a:r>
          </a:p>
          <a:p>
            <a:pPr lvl="0"/>
            <a:r>
              <a:rPr lang="nl-NL"/>
              <a:t>Negen</a:t>
            </a:r>
          </a:p>
          <a:p>
            <a:pPr lvl="0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38687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4537075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noProof="0"/>
              <a:t>Presentatietitel (op 1-2 regels)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4537075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nl-NL" noProof="0"/>
              <a:t>Ondertitel van de presentatie</a:t>
            </a:r>
            <a:br>
              <a:rPr lang="nl-NL" noProof="0"/>
            </a:br>
            <a:r>
              <a:rPr lang="nl-NL" noProof="0"/>
              <a:t>(op 1-2 regels)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nl-NL"/>
              <a:t>00</a:t>
            </a:r>
          </a:p>
          <a:p>
            <a:pPr lvl="0"/>
            <a:r>
              <a:rPr lang="nl-NL"/>
              <a:t>Tweede niveau</a:t>
            </a:r>
          </a:p>
          <a:p>
            <a:pPr lvl="0"/>
            <a:r>
              <a:rPr lang="nl-NL"/>
              <a:t>Derde niveau</a:t>
            </a:r>
          </a:p>
          <a:p>
            <a:pPr lvl="0"/>
            <a:r>
              <a:rPr lang="nl-NL"/>
              <a:t>Vierde niveau</a:t>
            </a:r>
          </a:p>
          <a:p>
            <a:pPr lvl="0"/>
            <a:r>
              <a:rPr lang="nl-NL"/>
              <a:t>Vijfde niveau</a:t>
            </a:r>
          </a:p>
          <a:p>
            <a:pPr lvl="0"/>
            <a:r>
              <a:rPr lang="nl-NL"/>
              <a:t>Zes</a:t>
            </a:r>
          </a:p>
          <a:p>
            <a:pPr lvl="0"/>
            <a:r>
              <a:rPr lang="nl-NL"/>
              <a:t>Zeven</a:t>
            </a:r>
          </a:p>
          <a:p>
            <a:pPr lvl="0"/>
            <a:r>
              <a:rPr lang="nl-NL"/>
              <a:t>Acht</a:t>
            </a:r>
          </a:p>
          <a:p>
            <a:pPr lvl="0"/>
            <a:r>
              <a:rPr lang="nl-NL"/>
              <a:t>Negen</a:t>
            </a:r>
          </a:p>
          <a:p>
            <a:pPr lvl="0"/>
            <a:endParaRPr lang="nl-NL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8183562" y="0"/>
            <a:ext cx="4008437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r>
              <a:rPr lang="de-DE" err="1"/>
              <a:t>Afbeeldi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60438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oleObject" Target="../embeddings/oleObject17.bin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2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6A8C11E-A4FB-46CD-B4A5-E93B19F62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2064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15" imgH="416" progId="TCLayout.ActiveDocument.1">
                  <p:embed/>
                </p:oleObj>
              </mc:Choice>
              <mc:Fallback>
                <p:oleObj name="think-cell Slide" r:id="rId3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6A8C11E-A4FB-46CD-B4A5-E93B19F62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err="1"/>
              <a:t>Klik</a:t>
            </a:r>
            <a:r>
              <a:rPr lang="de-DE"/>
              <a:t> </a:t>
            </a:r>
            <a:r>
              <a:rPr lang="de-DE" err="1"/>
              <a:t>om</a:t>
            </a:r>
            <a:r>
              <a:rPr lang="de-DE"/>
              <a:t> de </a:t>
            </a:r>
            <a:r>
              <a:rPr lang="de-DE" err="1"/>
              <a:t>tekst</a:t>
            </a:r>
            <a:r>
              <a:rPr lang="de-DE"/>
              <a:t> </a:t>
            </a:r>
            <a:r>
              <a:rPr lang="de-DE" err="1"/>
              <a:t>te</a:t>
            </a:r>
            <a:r>
              <a:rPr lang="de-DE"/>
              <a:t> </a:t>
            </a:r>
            <a:r>
              <a:rPr lang="de-DE" err="1"/>
              <a:t>bewerk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8" y="1557338"/>
            <a:ext cx="11376025" cy="446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/>
              <a:t>Klik om de tekst te bewerken. Gebruik de knoppen ‘Lijstniveau verlagen’ en ‘Lijstniveau verhogen’ in het menu Start om te wisselen tussen de vooraf ingestelde tekstniveaus.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  <a:p>
            <a:pPr lvl="6"/>
            <a:r>
              <a:rPr lang="nl-NL" noProof="0"/>
              <a:t>Zevende niveau</a:t>
            </a:r>
          </a:p>
          <a:p>
            <a:pPr lvl="7"/>
            <a:r>
              <a:rPr lang="nl-NL" noProof="0"/>
              <a:t>Achtste niveau</a:t>
            </a:r>
          </a:p>
          <a:p>
            <a:pPr lvl="8"/>
            <a:r>
              <a:rPr lang="nl-NL" noProof="0"/>
              <a:t>Negende niveau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A232406-5D1F-4019-A1B4-D1FE1B8E5B2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07988" y="6525368"/>
            <a:ext cx="864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0422BFB-FDCF-40DF-8706-BE2DD1303A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631376" y="6525368"/>
            <a:ext cx="5616624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de-DE"/>
              <a:t>PowerPoint Master</a:t>
            </a:r>
            <a:endParaRPr lang="de-DE" b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5CFDEC0-FDC8-4458-9278-C1E1E7F89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525368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615A0EE-8B49-4970-8F31-54CAB8753562}"/>
              </a:ext>
            </a:extLst>
          </p:cNvPr>
          <p:cNvGrpSpPr/>
          <p:nvPr userDrawn="1"/>
        </p:nvGrpSpPr>
        <p:grpSpPr bwMode="gray">
          <a:xfrm>
            <a:off x="407368" y="-132726"/>
            <a:ext cx="11377264" cy="72000"/>
            <a:chOff x="407368" y="-132726"/>
            <a:chExt cx="11377264" cy="720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028BC2D0-DB4B-493D-B494-1587AF911805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07368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D3DDC106-3D96-492C-934E-5E56B69FA20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007768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FDC58F67-1BD0-4280-B265-2A51CDE1985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295800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AAC8661-90CE-4537-9100-7C5F573F93C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5879976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3E55292-57DB-4CA8-9AC5-D138423FE4B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6312024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37C332C-740E-4084-B28E-2D7E1E136C09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896200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90FB4CB5-57B5-4C7A-9E6C-F430DE61AC0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8184232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6CF3DE2-72C5-4897-919E-99D960EC288F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1784632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5E74843-5C9A-4874-9485-7E29F159D522}"/>
              </a:ext>
            </a:extLst>
          </p:cNvPr>
          <p:cNvGrpSpPr/>
          <p:nvPr userDrawn="1"/>
        </p:nvGrpSpPr>
        <p:grpSpPr bwMode="gray">
          <a:xfrm>
            <a:off x="-122081" y="1556792"/>
            <a:ext cx="72000" cy="4464496"/>
            <a:chOff x="-168688" y="1556792"/>
            <a:chExt cx="72000" cy="4464496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08A42BF2-103F-44E0-B8D8-C6DDA6C7BA2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168688" y="1556792"/>
              <a:ext cx="72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7EDE62A2-BE72-466B-BFD7-D096F7A5E41A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168688" y="6021288"/>
              <a:ext cx="72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8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87" r:id="rId2"/>
    <p:sldLayoutId id="2147483665" r:id="rId3"/>
    <p:sldLayoutId id="2147483688" r:id="rId4"/>
    <p:sldLayoutId id="2147483668" r:id="rId5"/>
    <p:sldLayoutId id="2147483683" r:id="rId6"/>
    <p:sldLayoutId id="2147483670" r:id="rId7"/>
    <p:sldLayoutId id="2147483689" r:id="rId8"/>
    <p:sldLayoutId id="2147483671" r:id="rId9"/>
    <p:sldLayoutId id="2147483690" r:id="rId10"/>
    <p:sldLayoutId id="2147483650" r:id="rId11"/>
    <p:sldLayoutId id="2147483666" r:id="rId12"/>
    <p:sldLayoutId id="2147483667" r:id="rId13"/>
    <p:sldLayoutId id="2147483674" r:id="rId14"/>
    <p:sldLayoutId id="2147483673" r:id="rId15"/>
    <p:sldLayoutId id="2147483654" r:id="rId16"/>
    <p:sldLayoutId id="2147483692" r:id="rId17"/>
    <p:sldLayoutId id="2147483675" r:id="rId18"/>
    <p:sldLayoutId id="2147483676" r:id="rId19"/>
    <p:sldLayoutId id="2147483678" r:id="rId20"/>
    <p:sldLayoutId id="2147483679" r:id="rId21"/>
    <p:sldLayoutId id="2147483682" r:id="rId22"/>
    <p:sldLayoutId id="2147483680" r:id="rId23"/>
    <p:sldLayoutId id="2147483681" r:id="rId24"/>
    <p:sldLayoutId id="2147483694" r:id="rId25"/>
    <p:sldLayoutId id="2147483685" r:id="rId26"/>
    <p:sldLayoutId id="2147483655" r:id="rId27"/>
    <p:sldLayoutId id="2147483691" r:id="rId28"/>
    <p:sldLayoutId id="2147483695" r:id="rId29"/>
    <p:sldLayoutId id="2147483696" r:id="rId30"/>
    <p:sldLayoutId id="2147483697" r:id="rId31"/>
    <p:sldLayoutId id="2147483698" r:id="rId32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89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5ACBF0"/>
          </p15:clr>
        </p15:guide>
        <p15:guide id="12" pos="7423" userDrawn="1">
          <p15:clr>
            <a:srgbClr val="5ACBF0"/>
          </p15:clr>
        </p15:guide>
        <p15:guide id="13" orient="horz" pos="981" userDrawn="1">
          <p15:clr>
            <a:srgbClr val="5ACBF0"/>
          </p15:clr>
        </p15:guide>
        <p15:guide id="14" orient="horz" pos="3793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6A8C11E-A4FB-46CD-B4A5-E93B19F62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2064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415" imgH="416" progId="TCLayout.ActiveDocument.1">
                  <p:embed/>
                </p:oleObj>
              </mc:Choice>
              <mc:Fallback>
                <p:oleObj name="think-cell Folie" r:id="rId32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6A8C11E-A4FB-46CD-B4A5-E93B19F62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8" y="1557338"/>
            <a:ext cx="11376025" cy="446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615A0EE-8B49-4970-8F31-54CAB8753562}"/>
              </a:ext>
            </a:extLst>
          </p:cNvPr>
          <p:cNvGrpSpPr/>
          <p:nvPr userDrawn="1"/>
        </p:nvGrpSpPr>
        <p:grpSpPr bwMode="gray">
          <a:xfrm>
            <a:off x="407368" y="-132726"/>
            <a:ext cx="11377264" cy="72000"/>
            <a:chOff x="407368" y="-132726"/>
            <a:chExt cx="11377264" cy="720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028BC2D0-DB4B-493D-B494-1587AF911805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07368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D3DDC106-3D96-492C-934E-5E56B69FA20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007768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FDC58F67-1BD0-4280-B265-2A51CDE1985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295800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AAC8661-90CE-4537-9100-7C5F573F93C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5879976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3E55292-57DB-4CA8-9AC5-D138423FE4B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6312024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37C332C-740E-4084-B28E-2D7E1E136C09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896200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90FB4CB5-57B5-4C7A-9E6C-F430DE61AC0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8184232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6CF3DE2-72C5-4897-919E-99D960EC288F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1784632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5E74843-5C9A-4874-9485-7E29F159D522}"/>
              </a:ext>
            </a:extLst>
          </p:cNvPr>
          <p:cNvGrpSpPr/>
          <p:nvPr userDrawn="1"/>
        </p:nvGrpSpPr>
        <p:grpSpPr bwMode="gray">
          <a:xfrm>
            <a:off x="-122081" y="1556792"/>
            <a:ext cx="72000" cy="4464496"/>
            <a:chOff x="-168688" y="1556792"/>
            <a:chExt cx="72000" cy="4464496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08A42BF2-103F-44E0-B8D8-C6DDA6C7BA2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168688" y="1556792"/>
              <a:ext cx="72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7EDE62A2-BE72-466B-BFD7-D096F7A5E41A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168688" y="6021288"/>
              <a:ext cx="72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E053078E-C105-3D60-280D-B2326A57AEFF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31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89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5ACBF0"/>
          </p15:clr>
        </p15:guide>
        <p15:guide id="12" pos="7423">
          <p15:clr>
            <a:srgbClr val="5ACBF0"/>
          </p15:clr>
        </p15:guide>
        <p15:guide id="13" orient="horz" pos="981">
          <p15:clr>
            <a:srgbClr val="5ACBF0"/>
          </p15:clr>
        </p15:guide>
        <p15:guide id="14" orient="horz" pos="379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7" Type="http://schemas.openxmlformats.org/officeDocument/2006/relationships/image" Target="../media/image47.jp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Relationship Id="rId6" Type="http://schemas.microsoft.com/office/2007/relationships/hdphoto" Target="../media/hdphoto3.wdp"/><Relationship Id="rId5" Type="http://schemas.microsoft.com/office/2007/relationships/hdphoto" Target="../media/hdphoto2.wdp"/><Relationship Id="rId4" Type="http://schemas.openxmlformats.org/officeDocument/2006/relationships/image" Target="../media/image7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9.xml"/><Relationship Id="rId4" Type="http://schemas.openxmlformats.org/officeDocument/2006/relationships/image" Target="../media/image4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7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7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g"/><Relationship Id="rId3" Type="http://schemas.openxmlformats.org/officeDocument/2006/relationships/image" Target="../media/image49.jpe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3" Type="http://schemas.openxmlformats.org/officeDocument/2006/relationships/image" Target="../media/image54.jpeg"/><Relationship Id="rId7" Type="http://schemas.openxmlformats.org/officeDocument/2006/relationships/image" Target="../media/image58.jpeg"/><Relationship Id="rId12" Type="http://schemas.openxmlformats.org/officeDocument/2006/relationships/image" Target="../media/image63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5" Type="http://schemas.openxmlformats.org/officeDocument/2006/relationships/image" Target="../media/image47.jpg"/><Relationship Id="rId10" Type="http://schemas.openxmlformats.org/officeDocument/2006/relationships/image" Target="../media/image61.sv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7" Type="http://schemas.openxmlformats.org/officeDocument/2006/relationships/image" Target="../media/image4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microsoft.com/office/2007/relationships/media" Target="../media/media2.mp4"/><Relationship Id="rId7" Type="http://schemas.openxmlformats.org/officeDocument/2006/relationships/image" Target="../media/image47.jp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6.xml"/><Relationship Id="rId4" Type="http://schemas.openxmlformats.org/officeDocument/2006/relationships/video" Target="../media/media2.mp4"/><Relationship Id="rId9" Type="http://schemas.openxmlformats.org/officeDocument/2006/relationships/image" Target="../media/image7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77.png"/><Relationship Id="rId4" Type="http://schemas.openxmlformats.org/officeDocument/2006/relationships/image" Target="../media/image4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97157BC1-043D-DE0E-88E0-5876FA3082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0053" y="3645184"/>
            <a:ext cx="8856000" cy="230878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nl-BE" dirty="0"/>
              <a:t>Lidl x iO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FB2EE0F-06AB-864C-4FDE-1945767CEC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/>
          <a:lstStyle/>
          <a:p>
            <a:pPr>
              <a:buNone/>
            </a:pPr>
            <a:r>
              <a:rPr lang="en-GB" sz="3600" b="1" dirty="0">
                <a:effectLst/>
                <a:latin typeface="Verdana" panose="020B0604030504040204" pitchFamily="34" charset="0"/>
              </a:rPr>
              <a:t>Transforming Lidl’s advertising strategy with data-based dynamic</a:t>
            </a:r>
            <a:br>
              <a:rPr lang="en-GB" sz="3600" dirty="0">
                <a:effectLst/>
                <a:latin typeface="Verdana" panose="020B0604030504040204" pitchFamily="34" charset="0"/>
              </a:rPr>
            </a:br>
            <a:r>
              <a:rPr lang="en-GB" sz="3600" b="1" dirty="0">
                <a:effectLst/>
                <a:latin typeface="Verdana" panose="020B0604030504040204" pitchFamily="34" charset="0"/>
              </a:rPr>
              <a:t>creative optimization</a:t>
            </a:r>
            <a:endParaRPr lang="en-GB" sz="3600" dirty="0">
              <a:effectLst/>
              <a:latin typeface="Verdana" panose="020B0604030504040204" pitchFamily="34" charset="0"/>
            </a:endParaRPr>
          </a:p>
        </p:txBody>
      </p:sp>
      <p:grpSp>
        <p:nvGrpSpPr>
          <p:cNvPr id="2" name="Groep 9">
            <a:extLst>
              <a:ext uri="{FF2B5EF4-FFF2-40B4-BE49-F238E27FC236}">
                <a16:creationId xmlns:a16="http://schemas.microsoft.com/office/drawing/2014/main" id="{3A686F84-C256-CE30-C7BC-AC12C5B1A651}"/>
              </a:ext>
            </a:extLst>
          </p:cNvPr>
          <p:cNvGrpSpPr/>
          <p:nvPr/>
        </p:nvGrpSpPr>
        <p:grpSpPr>
          <a:xfrm>
            <a:off x="9685895" y="5638081"/>
            <a:ext cx="1034242" cy="709234"/>
            <a:chOff x="9685895" y="5638081"/>
            <a:chExt cx="1034242" cy="709234"/>
          </a:xfrm>
        </p:grpSpPr>
        <p:sp>
          <p:nvSpPr>
            <p:cNvPr id="4" name="Tekstvak 4">
              <a:extLst>
                <a:ext uri="{FF2B5EF4-FFF2-40B4-BE49-F238E27FC236}">
                  <a16:creationId xmlns:a16="http://schemas.microsoft.com/office/drawing/2014/main" id="{A558A8B9-22EA-E1AA-531D-9A2DBB0F42DD}"/>
                </a:ext>
              </a:extLst>
            </p:cNvPr>
            <p:cNvSpPr txBox="1"/>
            <p:nvPr/>
          </p:nvSpPr>
          <p:spPr bwMode="gray">
            <a:xfrm>
              <a:off x="10395129" y="5838809"/>
              <a:ext cx="32500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</a:t>
              </a:r>
              <a:endParaRPr lang="nl-B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0A0B25FB-F956-642F-38AB-3A66553BDB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685895" y="5638081"/>
              <a:ext cx="709234" cy="709234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C5B912D-F29F-DA61-98D0-F6BF29D674A9}"/>
              </a:ext>
            </a:extLst>
          </p:cNvPr>
          <p:cNvSpPr txBox="1"/>
          <p:nvPr/>
        </p:nvSpPr>
        <p:spPr bwMode="gray">
          <a:xfrm>
            <a:off x="11360075" y="585216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82140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A65D57-3DDE-2165-F1B4-1CC6618B28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E31AE92-E7CC-A5DD-7DB1-7A9F35F8EBAA}"/>
              </a:ext>
            </a:extLst>
          </p:cNvPr>
          <p:cNvSpPr/>
          <p:nvPr/>
        </p:nvSpPr>
        <p:spPr bwMode="gray">
          <a:xfrm>
            <a:off x="7502527" y="1980483"/>
            <a:ext cx="2344018" cy="914400"/>
          </a:xfrm>
          <a:prstGeom prst="rect">
            <a:avLst/>
          </a:prstGeom>
          <a:gradFill>
            <a:gsLst>
              <a:gs pos="0">
                <a:srgbClr val="E60A14"/>
              </a:gs>
              <a:gs pos="59000">
                <a:schemeClr val="tx2">
                  <a:lumMod val="60000"/>
                  <a:lumOff val="40000"/>
                </a:schemeClr>
              </a:gs>
              <a:gs pos="100000">
                <a:schemeClr val="tx2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  <a:ea typeface="+mn-lt"/>
                <a:cs typeface="+mn-lt"/>
              </a:rPr>
              <a:t>Attract new customer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0786B97-1D25-64AE-3B4A-E4A530426903}"/>
              </a:ext>
            </a:extLst>
          </p:cNvPr>
          <p:cNvSpPr/>
          <p:nvPr/>
        </p:nvSpPr>
        <p:spPr bwMode="gray">
          <a:xfrm>
            <a:off x="2110830" y="1957406"/>
            <a:ext cx="2344018" cy="914400"/>
          </a:xfrm>
          <a:prstGeom prst="rect">
            <a:avLst/>
          </a:prstGeom>
          <a:gradFill>
            <a:gsLst>
              <a:gs pos="0">
                <a:srgbClr val="E60A14"/>
              </a:gs>
              <a:gs pos="59000">
                <a:schemeClr val="tx2">
                  <a:lumMod val="60000"/>
                  <a:lumOff val="40000"/>
                </a:schemeClr>
              </a:gs>
              <a:gs pos="100000">
                <a:schemeClr val="tx2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br>
              <a:rPr lang="en-GB" dirty="0">
                <a:solidFill>
                  <a:schemeClr val="bg1"/>
                </a:solidFill>
              </a:rPr>
            </a:br>
            <a:r>
              <a:rPr lang="en-GB" sz="1400" dirty="0">
                <a:solidFill>
                  <a:schemeClr val="bg1"/>
                </a:solidFill>
              </a:rPr>
              <a:t>Promote a weekly changing non-food assortment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71A3C83-55AF-61EB-42FA-FE85FCBFEFC2}"/>
              </a:ext>
            </a:extLst>
          </p:cNvPr>
          <p:cNvSpPr/>
          <p:nvPr/>
        </p:nvSpPr>
        <p:spPr bwMode="gray">
          <a:xfrm>
            <a:off x="4785207" y="1966105"/>
            <a:ext cx="2344018" cy="914400"/>
          </a:xfrm>
          <a:prstGeom prst="rect">
            <a:avLst/>
          </a:prstGeom>
          <a:gradFill>
            <a:gsLst>
              <a:gs pos="0">
                <a:srgbClr val="E60A14"/>
              </a:gs>
              <a:gs pos="59000">
                <a:schemeClr val="tx2">
                  <a:lumMod val="60000"/>
                  <a:lumOff val="40000"/>
                </a:schemeClr>
              </a:gs>
              <a:gs pos="100000">
                <a:schemeClr val="tx2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Drive traffic to the store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68887D9-0534-F0D8-F47A-74819622E57F}"/>
              </a:ext>
            </a:extLst>
          </p:cNvPr>
          <p:cNvSpPr/>
          <p:nvPr/>
        </p:nvSpPr>
        <p:spPr bwMode="gray">
          <a:xfrm>
            <a:off x="2799986" y="1316776"/>
            <a:ext cx="914400" cy="914400"/>
          </a:xfrm>
          <a:prstGeom prst="ellips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1D4F0B-A739-5BE0-3B41-5AFF6FA7E2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ward-winning impact, proven by dat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24E1C0-8BAE-C82F-099E-2FDEDA7AE0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8A810CD-99D9-96CA-D9AD-9A96AA630D3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20" name="Content Placeholder 15" descr="Target with solid fill">
            <a:extLst>
              <a:ext uri="{FF2B5EF4-FFF2-40B4-BE49-F238E27FC236}">
                <a16:creationId xmlns:a16="http://schemas.microsoft.com/office/drawing/2014/main" id="{CFAAB6EB-4ADA-28CA-29F3-F7A742B5F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490006" y="1341324"/>
            <a:ext cx="914400" cy="914400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345483BA-2F0A-C47B-7C0C-93F6E975C052}"/>
              </a:ext>
            </a:extLst>
          </p:cNvPr>
          <p:cNvSpPr/>
          <p:nvPr/>
        </p:nvSpPr>
        <p:spPr bwMode="gray">
          <a:xfrm>
            <a:off x="5474363" y="1339853"/>
            <a:ext cx="914400" cy="914400"/>
          </a:xfrm>
          <a:prstGeom prst="ellips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C93DDF8-9F90-2396-1CAE-376D284A7926}"/>
              </a:ext>
            </a:extLst>
          </p:cNvPr>
          <p:cNvSpPr/>
          <p:nvPr/>
        </p:nvSpPr>
        <p:spPr bwMode="gray">
          <a:xfrm>
            <a:off x="8192950" y="1366903"/>
            <a:ext cx="914400" cy="914400"/>
          </a:xfrm>
          <a:prstGeom prst="ellips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bg1"/>
              </a:solidFill>
            </a:endParaRPr>
          </a:p>
        </p:txBody>
      </p:sp>
      <p:pic>
        <p:nvPicPr>
          <p:cNvPr id="2050" name="Picture 2" descr="Free Check Mark SVG, PNG Icon, Symbol. Download Image.">
            <a:extLst>
              <a:ext uri="{FF2B5EF4-FFF2-40B4-BE49-F238E27FC236}">
                <a16:creationId xmlns:a16="http://schemas.microsoft.com/office/drawing/2014/main" id="{4AB665B8-9628-FE4F-BF61-5D96089DD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biLevel thresh="7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7612" y="1460581"/>
            <a:ext cx="672943" cy="67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Free Check Mark SVG, PNG Icon, Symbol. Download Image.">
            <a:extLst>
              <a:ext uri="{FF2B5EF4-FFF2-40B4-BE49-F238E27FC236}">
                <a16:creationId xmlns:a16="http://schemas.microsoft.com/office/drawing/2014/main" id="{5286146A-CDEA-58C0-E127-86CED8F251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1643" y="1460581"/>
            <a:ext cx="672943" cy="67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Free Check Mark SVG, PNG Icon, Symbol. Download Image.">
            <a:extLst>
              <a:ext uri="{FF2B5EF4-FFF2-40B4-BE49-F238E27FC236}">
                <a16:creationId xmlns:a16="http://schemas.microsoft.com/office/drawing/2014/main" id="{5BC66884-32CD-8EAD-49B7-C858E45680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9309" y="1494605"/>
            <a:ext cx="672943" cy="67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07DFD315-8173-70EC-7F18-F9899EFCF6CF}"/>
              </a:ext>
            </a:extLst>
          </p:cNvPr>
          <p:cNvSpPr/>
          <p:nvPr/>
        </p:nvSpPr>
        <p:spPr bwMode="gray">
          <a:xfrm>
            <a:off x="4785207" y="3119204"/>
            <a:ext cx="2344018" cy="1114528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/>
              <a:t>Technology leveraged for agi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8FFCAB2-C372-B5D0-2545-BD2C839E937B}"/>
              </a:ext>
            </a:extLst>
          </p:cNvPr>
          <p:cNvSpPr/>
          <p:nvPr/>
        </p:nvSpPr>
        <p:spPr bwMode="gray">
          <a:xfrm>
            <a:off x="4785207" y="4388169"/>
            <a:ext cx="2344018" cy="1114527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ea typeface="+mn-lt"/>
                <a:cs typeface="+mn-lt"/>
              </a:rPr>
              <a:t>Hyper-relevant, operationally efficien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20C7662-82DB-ACE8-E51B-EE6763CC941E}"/>
              </a:ext>
            </a:extLst>
          </p:cNvPr>
          <p:cNvSpPr/>
          <p:nvPr/>
        </p:nvSpPr>
        <p:spPr bwMode="gray">
          <a:xfrm>
            <a:off x="7502527" y="3115736"/>
            <a:ext cx="2344018" cy="1108589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Proven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business impa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F6E4DB-30DE-9390-7F80-52B74B0458DD}"/>
              </a:ext>
            </a:extLst>
          </p:cNvPr>
          <p:cNvSpPr/>
          <p:nvPr/>
        </p:nvSpPr>
        <p:spPr bwMode="gray">
          <a:xfrm>
            <a:off x="7501994" y="4388171"/>
            <a:ext cx="2334610" cy="1117998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ea typeface="+mn-lt"/>
                <a:cs typeface="+mn-lt"/>
              </a:rPr>
              <a:t>Built in a living </a:t>
            </a:r>
            <a:br>
              <a:rPr lang="en-GB" dirty="0">
                <a:solidFill>
                  <a:schemeClr val="bg1"/>
                </a:solidFill>
                <a:ea typeface="+mn-lt"/>
                <a:cs typeface="+mn-lt"/>
              </a:rPr>
            </a:br>
            <a:r>
              <a:rPr lang="en-GB" dirty="0">
                <a:solidFill>
                  <a:schemeClr val="bg1"/>
                </a:solidFill>
                <a:ea typeface="+mn-lt"/>
                <a:cs typeface="+mn-lt"/>
              </a:rPr>
              <a:t>always-on campaign framework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87D689F-AEFF-13E9-410F-AA9FE8249881}"/>
              </a:ext>
            </a:extLst>
          </p:cNvPr>
          <p:cNvSpPr/>
          <p:nvPr/>
        </p:nvSpPr>
        <p:spPr bwMode="gray">
          <a:xfrm>
            <a:off x="2110830" y="3119204"/>
            <a:ext cx="2344018" cy="1117998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dirty="0"/>
              <a:t>Data used as a performance engin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FAA52AD-3EB1-83C9-91A5-55762F387131}"/>
              </a:ext>
            </a:extLst>
          </p:cNvPr>
          <p:cNvSpPr/>
          <p:nvPr/>
        </p:nvSpPr>
        <p:spPr bwMode="gray">
          <a:xfrm>
            <a:off x="2110297" y="4388169"/>
            <a:ext cx="2353425" cy="1117998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ea typeface="+mn-lt"/>
                <a:cs typeface="+mn-lt"/>
              </a:rPr>
              <a:t>Powered by combining multiple data sources</a:t>
            </a:r>
            <a:endParaRPr lang="en-GB" b="0" dirty="0">
              <a:solidFill>
                <a:schemeClr val="bg1"/>
              </a:solidFill>
              <a:ea typeface="+mn-lt"/>
              <a:cs typeface="+mn-lt"/>
            </a:endParaRPr>
          </a:p>
        </p:txBody>
      </p:sp>
      <p:pic>
        <p:nvPicPr>
          <p:cNvPr id="2" name="Picture 1" descr="A close-up of a logo&#10;&#10;AI-generated content may be incorrect.">
            <a:extLst>
              <a:ext uri="{FF2B5EF4-FFF2-40B4-BE49-F238E27FC236}">
                <a16:creationId xmlns:a16="http://schemas.microsoft.com/office/drawing/2014/main" id="{D54189E5-F0F7-1373-BB1A-74EC3A12BA0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536" y="5877668"/>
            <a:ext cx="1187450" cy="6477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D6254D0-EC3D-2967-0855-9D57295CCD73}"/>
              </a:ext>
            </a:extLst>
          </p:cNvPr>
          <p:cNvSpPr/>
          <p:nvPr/>
        </p:nvSpPr>
        <p:spPr bwMode="gray">
          <a:xfrm>
            <a:off x="4785207" y="5874539"/>
            <a:ext cx="2344018" cy="644157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ea typeface="+mn-lt"/>
                <a:cs typeface="+mn-lt"/>
              </a:rPr>
              <a:t>+25% clicks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F7BE16-19C4-9C69-EB2D-D49960ABEAA6}"/>
              </a:ext>
            </a:extLst>
          </p:cNvPr>
          <p:cNvSpPr/>
          <p:nvPr/>
        </p:nvSpPr>
        <p:spPr bwMode="gray">
          <a:xfrm>
            <a:off x="7501994" y="5874541"/>
            <a:ext cx="2334610" cy="647628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ea typeface="+mn-lt"/>
                <a:cs typeface="+mn-lt"/>
              </a:rPr>
              <a:t>+0,10% in-store sales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CBA7517-8B17-AB9A-7C9C-92079E4148C3}"/>
              </a:ext>
            </a:extLst>
          </p:cNvPr>
          <p:cNvSpPr/>
          <p:nvPr/>
        </p:nvSpPr>
        <p:spPr bwMode="gray">
          <a:xfrm>
            <a:off x="2110297" y="5874539"/>
            <a:ext cx="2353425" cy="647629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ea typeface="+mn-lt"/>
                <a:cs typeface="+mn-lt"/>
              </a:rPr>
              <a:t>+97% atten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6953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DEEA2870-CD35-557A-3523-C7711C76EF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4851" y="2322883"/>
            <a:ext cx="2212233" cy="2212233"/>
          </a:xfrm>
          <a:prstGeom prst="rect">
            <a:avLst/>
          </a:pr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002A14C4-5BA2-B6DD-0F97-F5BC6C639108}"/>
              </a:ext>
            </a:extLst>
          </p:cNvPr>
          <p:cNvSpPr txBox="1"/>
          <p:nvPr/>
        </p:nvSpPr>
        <p:spPr bwMode="gray">
          <a:xfrm>
            <a:off x="5641157" y="3152001"/>
            <a:ext cx="1013761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X</a:t>
            </a:r>
            <a:endParaRPr kumimoji="0" lang="nl-BE" sz="3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6822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695D99-DC44-F710-EA5C-FE5AAB0FE2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1012146-39FF-0104-3591-84F3139BCA46}"/>
              </a:ext>
            </a:extLst>
          </p:cNvPr>
          <p:cNvSpPr/>
          <p:nvPr/>
        </p:nvSpPr>
        <p:spPr bwMode="gray">
          <a:xfrm>
            <a:off x="7502527" y="1980482"/>
            <a:ext cx="2344018" cy="2075717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ea typeface="+mn-lt"/>
                <a:cs typeface="+mn-lt"/>
              </a:rPr>
              <a:t>Attract new customer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80EFED-50E9-C483-1363-CCCC96AA6BD6}"/>
              </a:ext>
            </a:extLst>
          </p:cNvPr>
          <p:cNvSpPr/>
          <p:nvPr/>
        </p:nvSpPr>
        <p:spPr bwMode="gray">
          <a:xfrm>
            <a:off x="2110830" y="1957405"/>
            <a:ext cx="2344018" cy="2075717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Promote a weekly changing non-food assortmen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D1280D3-E6B9-4C3E-BB5E-B285CD267920}"/>
              </a:ext>
            </a:extLst>
          </p:cNvPr>
          <p:cNvSpPr/>
          <p:nvPr/>
        </p:nvSpPr>
        <p:spPr bwMode="gray">
          <a:xfrm>
            <a:off x="2799986" y="1316776"/>
            <a:ext cx="914400" cy="914400"/>
          </a:xfrm>
          <a:prstGeom prst="ellips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59C5BC-AD8E-DF84-9F97-D3716909EA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cap marketing goal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B4B72B-B3B2-8944-4185-902D96EC1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5706680-A3F0-28F8-DF64-F2356D15D5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16" name="Content Placeholder 15" descr="Target with solid fill">
            <a:extLst>
              <a:ext uri="{FF2B5EF4-FFF2-40B4-BE49-F238E27FC236}">
                <a16:creationId xmlns:a16="http://schemas.microsoft.com/office/drawing/2014/main" id="{D98DE876-EBDC-79D5-4606-9A0E6DABD13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96831" y="1316776"/>
            <a:ext cx="914400" cy="914400"/>
          </a:xfr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A3693F6-5C54-7B73-15EA-11602932EB9B}"/>
              </a:ext>
            </a:extLst>
          </p:cNvPr>
          <p:cNvSpPr/>
          <p:nvPr/>
        </p:nvSpPr>
        <p:spPr bwMode="gray">
          <a:xfrm>
            <a:off x="4785207" y="1966104"/>
            <a:ext cx="2344018" cy="2075717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Drive traffic to the stores</a:t>
            </a:r>
          </a:p>
        </p:txBody>
      </p:sp>
      <p:pic>
        <p:nvPicPr>
          <p:cNvPr id="20" name="Content Placeholder 15" descr="Target with solid fill">
            <a:extLst>
              <a:ext uri="{FF2B5EF4-FFF2-40B4-BE49-F238E27FC236}">
                <a16:creationId xmlns:a16="http://schemas.microsoft.com/office/drawing/2014/main" id="{3004B546-B0E7-CCB3-C190-080ACBC090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490006" y="1341324"/>
            <a:ext cx="914400" cy="914400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63B6A2C3-E322-C989-880E-9D845245EDFB}"/>
              </a:ext>
            </a:extLst>
          </p:cNvPr>
          <p:cNvSpPr/>
          <p:nvPr/>
        </p:nvSpPr>
        <p:spPr bwMode="gray">
          <a:xfrm>
            <a:off x="5474363" y="1339853"/>
            <a:ext cx="914400" cy="914400"/>
          </a:xfrm>
          <a:prstGeom prst="ellips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0C81D0-2B7F-1E24-3DD6-7F2EBA8785DF}"/>
              </a:ext>
            </a:extLst>
          </p:cNvPr>
          <p:cNvSpPr/>
          <p:nvPr/>
        </p:nvSpPr>
        <p:spPr bwMode="gray">
          <a:xfrm>
            <a:off x="8192950" y="1366903"/>
            <a:ext cx="914400" cy="914400"/>
          </a:xfrm>
          <a:prstGeom prst="ellips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bg1"/>
              </a:solidFill>
            </a:endParaRPr>
          </a:p>
        </p:txBody>
      </p:sp>
      <p:pic>
        <p:nvPicPr>
          <p:cNvPr id="28" name="Content Placeholder 15" descr="Target with solid fill">
            <a:extLst>
              <a:ext uri="{FF2B5EF4-FFF2-40B4-BE49-F238E27FC236}">
                <a16:creationId xmlns:a16="http://schemas.microsoft.com/office/drawing/2014/main" id="{3B2218C7-E9B5-2042-AF6F-E2E44C4560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470375" y="1335156"/>
            <a:ext cx="914400" cy="914400"/>
          </a:xfrm>
          <a:prstGeom prst="rect">
            <a:avLst/>
          </a:prstGeom>
        </p:spPr>
      </p:pic>
      <p:pic>
        <p:nvPicPr>
          <p:cNvPr id="30" name="Content Placeholder 15" descr="Target with solid fill">
            <a:extLst>
              <a:ext uri="{FF2B5EF4-FFF2-40B4-BE49-F238E27FC236}">
                <a16:creationId xmlns:a16="http://schemas.microsoft.com/office/drawing/2014/main" id="{ACEC33C4-EC78-3F7C-F436-C3EA499DC0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192950" y="1362206"/>
            <a:ext cx="914400" cy="9144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C019375-7AF7-D146-F6B3-D9671EA7930A}"/>
              </a:ext>
            </a:extLst>
          </p:cNvPr>
          <p:cNvSpPr/>
          <p:nvPr/>
        </p:nvSpPr>
        <p:spPr bwMode="gray">
          <a:xfrm>
            <a:off x="7502526" y="4266482"/>
            <a:ext cx="2344018" cy="2075717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Let customers know Lidl also has a 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non-food assortmen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1947657-69F2-9D78-C10B-528C67AB2B63}"/>
              </a:ext>
            </a:extLst>
          </p:cNvPr>
          <p:cNvSpPr/>
          <p:nvPr/>
        </p:nvSpPr>
        <p:spPr bwMode="gray">
          <a:xfrm>
            <a:off x="2082075" y="4243405"/>
            <a:ext cx="2344018" cy="2075717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ea typeface="+mn-lt"/>
                <a:cs typeface="+mn-lt"/>
              </a:rPr>
              <a:t>Adapt banners based on inventory changes</a:t>
            </a:r>
            <a:endParaRPr lang="en-GB" b="0" dirty="0">
              <a:solidFill>
                <a:schemeClr val="bg1"/>
              </a:solidFill>
              <a:ea typeface="+mn-lt"/>
              <a:cs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CB944BA-6603-096B-0F6E-009C428B9F2B}"/>
              </a:ext>
            </a:extLst>
          </p:cNvPr>
          <p:cNvSpPr/>
          <p:nvPr/>
        </p:nvSpPr>
        <p:spPr bwMode="gray">
          <a:xfrm>
            <a:off x="4756452" y="4252104"/>
            <a:ext cx="2344018" cy="2075717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ea typeface="+mn-lt"/>
                <a:cs typeface="+mn-lt"/>
              </a:rPr>
              <a:t>Showing relevant products to customer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" name="Picture 5" descr="A close-up of a logo&#10;&#10;AI-generated content may be incorrect.">
            <a:extLst>
              <a:ext uri="{FF2B5EF4-FFF2-40B4-BE49-F238E27FC236}">
                <a16:creationId xmlns:a16="http://schemas.microsoft.com/office/drawing/2014/main" id="{CF3B181B-4EC1-2CCF-64A0-2FCE44A5A0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536" y="5877668"/>
            <a:ext cx="118745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2154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AA69E6-84BC-68AC-5A45-310F9884FB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4622564-718B-4E9F-3B66-916501CA9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Non-</a:t>
            </a:r>
            <a:r>
              <a:rPr lang="nl-BE" sz="2800" dirty="0"/>
              <a:t>f</a:t>
            </a:r>
            <a:r>
              <a:rPr lang="en-US" sz="2800" dirty="0" err="1"/>
              <a:t>ood</a:t>
            </a:r>
            <a:r>
              <a:rPr lang="en-US" sz="2800" dirty="0"/>
              <a:t> </a:t>
            </a:r>
            <a:r>
              <a:rPr lang="nl-BE" sz="2800" dirty="0"/>
              <a:t>DCO</a:t>
            </a:r>
            <a:r>
              <a:rPr lang="en-US" sz="2800" dirty="0"/>
              <a:t> approach</a:t>
            </a:r>
            <a:endParaRPr lang="en-GB" sz="280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DB0195A-6313-91D1-19D6-B1202B618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2A59CC-E579-4A75-B8EB-27FFE96B16A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CFDFCC3-8B40-4EE5-B231-005F2F1C6A68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27" name="Triangle 33">
            <a:extLst>
              <a:ext uri="{FF2B5EF4-FFF2-40B4-BE49-F238E27FC236}">
                <a16:creationId xmlns:a16="http://schemas.microsoft.com/office/drawing/2014/main" id="{CD4C1D03-4612-2B14-FDEF-917B4E83B7BD}"/>
              </a:ext>
            </a:extLst>
          </p:cNvPr>
          <p:cNvSpPr/>
          <p:nvPr/>
        </p:nvSpPr>
        <p:spPr bwMode="gray">
          <a:xfrm>
            <a:off x="8705478" y="2931547"/>
            <a:ext cx="1940284" cy="2141907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B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NF Cover-products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6E9B45C-F678-5A5B-329C-A56887A5CD45}"/>
              </a:ext>
            </a:extLst>
          </p:cNvPr>
          <p:cNvSpPr txBox="1"/>
          <p:nvPr/>
        </p:nvSpPr>
        <p:spPr bwMode="gray">
          <a:xfrm>
            <a:off x="1280622" y="4784309"/>
            <a:ext cx="1405103" cy="8476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Week </a:t>
            </a:r>
            <a:r>
              <a:rPr kumimoji="0" lang="en-BE" sz="1200" b="1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28: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Cond Pro" panose="02000000000000000000" pitchFamily="2" charset="0"/>
                <a:ea typeface="+mn-ea"/>
                <a:cs typeface="+mn-cs"/>
              </a:rPr>
              <a:t>Kitchen</a:t>
            </a:r>
            <a:endParaRPr kumimoji="0" lang="en-BE" sz="12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Cond Pro" panose="02000000000000000000" pitchFamily="2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BE" sz="1200" b="1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20A5353-A7FB-14F7-C313-6183F4682E14}"/>
              </a:ext>
            </a:extLst>
          </p:cNvPr>
          <p:cNvSpPr/>
          <p:nvPr/>
        </p:nvSpPr>
        <p:spPr bwMode="gray">
          <a:xfrm>
            <a:off x="1013032" y="5074665"/>
            <a:ext cx="1933494" cy="512883"/>
          </a:xfrm>
          <a:prstGeom prst="rect">
            <a:avLst/>
          </a:prstGeom>
          <a:gradFill>
            <a:gsLst>
              <a:gs pos="0">
                <a:srgbClr val="006FB9"/>
              </a:gs>
              <a:gs pos="59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18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C5A8BF0-D3EF-8B72-13B5-346DC00E91DB}"/>
              </a:ext>
            </a:extLst>
          </p:cNvPr>
          <p:cNvSpPr/>
          <p:nvPr/>
        </p:nvSpPr>
        <p:spPr bwMode="gray">
          <a:xfrm>
            <a:off x="2942442" y="5074665"/>
            <a:ext cx="1925325" cy="512883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18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436E5A5-C2C1-3708-BF57-995F4B0C145B}"/>
              </a:ext>
            </a:extLst>
          </p:cNvPr>
          <p:cNvSpPr/>
          <p:nvPr/>
        </p:nvSpPr>
        <p:spPr bwMode="gray">
          <a:xfrm>
            <a:off x="4866124" y="5074665"/>
            <a:ext cx="1933494" cy="512883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18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A4B9EEC-C0C3-B3EE-C762-F32829A7A6D7}"/>
              </a:ext>
            </a:extLst>
          </p:cNvPr>
          <p:cNvSpPr/>
          <p:nvPr/>
        </p:nvSpPr>
        <p:spPr bwMode="gray">
          <a:xfrm>
            <a:off x="6800228" y="5074665"/>
            <a:ext cx="1925325" cy="512883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18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BA96179-A732-4ACA-ABC9-8BA0A2C1CD25}"/>
              </a:ext>
            </a:extLst>
          </p:cNvPr>
          <p:cNvSpPr/>
          <p:nvPr/>
        </p:nvSpPr>
        <p:spPr bwMode="gray">
          <a:xfrm>
            <a:off x="8725234" y="5082133"/>
            <a:ext cx="1925325" cy="505415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18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22" name="Triangle 21">
            <a:extLst>
              <a:ext uri="{FF2B5EF4-FFF2-40B4-BE49-F238E27FC236}">
                <a16:creationId xmlns:a16="http://schemas.microsoft.com/office/drawing/2014/main" id="{6ED1EC9F-1521-BA87-6154-3C5D388B2BFA}"/>
              </a:ext>
            </a:extLst>
          </p:cNvPr>
          <p:cNvSpPr/>
          <p:nvPr/>
        </p:nvSpPr>
        <p:spPr bwMode="gray">
          <a:xfrm>
            <a:off x="1013032" y="3797618"/>
            <a:ext cx="1929410" cy="128036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BE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NF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Folder products</a:t>
            </a:r>
            <a:endParaRPr kumimoji="0" lang="en-BE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98537E-B9C0-3701-F1BA-DD2732D107D4}"/>
              </a:ext>
            </a:extLst>
          </p:cNvPr>
          <p:cNvSpPr txBox="1"/>
          <p:nvPr/>
        </p:nvSpPr>
        <p:spPr bwMode="gray">
          <a:xfrm>
            <a:off x="1279122" y="5227311"/>
            <a:ext cx="1397229" cy="30844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Week </a:t>
            </a:r>
            <a:r>
              <a:rPr lang="nl-BE" sz="1200" b="1" dirty="0">
                <a:solidFill>
                  <a:prstClr val="white"/>
                </a:solidFill>
                <a:latin typeface="Lidl Font Pro"/>
              </a:rPr>
              <a:t>18</a:t>
            </a:r>
            <a:r>
              <a:rPr kumimoji="0" lang="en-B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: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Cond Pro" panose="02000000000000000000" pitchFamily="2" charset="0"/>
                <a:ea typeface="+mn-ea"/>
                <a:cs typeface="+mn-cs"/>
              </a:rPr>
              <a:t>DIY</a:t>
            </a:r>
            <a:endParaRPr kumimoji="0" lang="en-B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Cond Pro" panose="02000000000000000000" pitchFamily="2" charset="0"/>
              <a:ea typeface="+mn-ea"/>
              <a:cs typeface="+mn-cs"/>
            </a:endParaRPr>
          </a:p>
          <a:p>
            <a:pPr marL="285750" marR="0" lvl="0" indent="-28575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en-BE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787135B-6095-3362-79A2-6773D70D8826}"/>
              </a:ext>
            </a:extLst>
          </p:cNvPr>
          <p:cNvSpPr txBox="1"/>
          <p:nvPr/>
        </p:nvSpPr>
        <p:spPr bwMode="gray">
          <a:xfrm>
            <a:off x="3208532" y="5227311"/>
            <a:ext cx="1397229" cy="30844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Week </a:t>
            </a:r>
            <a:r>
              <a:rPr lang="nl-BE" sz="1200" b="1" dirty="0">
                <a:solidFill>
                  <a:prstClr val="white"/>
                </a:solidFill>
                <a:latin typeface="Lidl Font Pro"/>
              </a:rPr>
              <a:t>19</a:t>
            </a:r>
            <a:r>
              <a:rPr kumimoji="0" lang="en-B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: </a:t>
            </a:r>
            <a:r>
              <a:rPr kumimoji="0" lang="nl-B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Cond Pro" panose="02000000000000000000" pitchFamily="2" charset="0"/>
                <a:ea typeface="+mn-ea"/>
                <a:cs typeface="+mn-cs"/>
              </a:rPr>
              <a:t>Kitche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E3B3762-1D07-EBDA-DD6D-97A17E4D6A02}"/>
              </a:ext>
            </a:extLst>
          </p:cNvPr>
          <p:cNvSpPr txBox="1"/>
          <p:nvPr/>
        </p:nvSpPr>
        <p:spPr bwMode="gray">
          <a:xfrm>
            <a:off x="5137942" y="5227311"/>
            <a:ext cx="1397229" cy="2745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Week </a:t>
            </a:r>
            <a:r>
              <a:rPr kumimoji="0" lang="en-B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20: </a:t>
            </a:r>
            <a:r>
              <a:rPr kumimoji="0" lang="nl-B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Cond Pro" panose="02000000000000000000" pitchFamily="2" charset="0"/>
                <a:ea typeface="+mn-ea"/>
                <a:cs typeface="+mn-cs"/>
              </a:rPr>
              <a:t>Fash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52F463E-DBC0-D1F3-8B2A-B6ECA035F643}"/>
              </a:ext>
            </a:extLst>
          </p:cNvPr>
          <p:cNvSpPr txBox="1"/>
          <p:nvPr/>
        </p:nvSpPr>
        <p:spPr bwMode="gray">
          <a:xfrm>
            <a:off x="7067352" y="5227311"/>
            <a:ext cx="1397229" cy="2745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Week </a:t>
            </a:r>
            <a:r>
              <a:rPr kumimoji="0" lang="en-B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21: </a:t>
            </a:r>
            <a:r>
              <a:rPr kumimoji="0" lang="en-B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Bad room</a:t>
            </a:r>
            <a:endParaRPr kumimoji="0" lang="nl-B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Cond Pro" panose="02000000000000000000" pitchFamily="2" charset="0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B0886EC-C519-50C6-832C-3B78276B7D04}"/>
              </a:ext>
            </a:extLst>
          </p:cNvPr>
          <p:cNvSpPr txBox="1"/>
          <p:nvPr/>
        </p:nvSpPr>
        <p:spPr bwMode="gray">
          <a:xfrm>
            <a:off x="8996762" y="5227311"/>
            <a:ext cx="1397229" cy="2745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Week </a:t>
            </a:r>
            <a:r>
              <a:rPr kumimoji="0" lang="en-B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22: </a:t>
            </a:r>
            <a:r>
              <a:rPr kumimoji="0" lang="nl-B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Cond Pro" panose="02000000000000000000" pitchFamily="2" charset="0"/>
                <a:ea typeface="+mn-ea"/>
                <a:cs typeface="+mn-cs"/>
              </a:rPr>
              <a:t>Garde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5CF9D29-BA52-CF23-CBB2-C271D1B6B838}"/>
              </a:ext>
            </a:extLst>
          </p:cNvPr>
          <p:cNvSpPr txBox="1">
            <a:spLocks/>
          </p:cNvSpPr>
          <p:nvPr/>
        </p:nvSpPr>
        <p:spPr bwMode="gray">
          <a:xfrm>
            <a:off x="491417" y="435120"/>
            <a:ext cx="8856000" cy="9004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BE" sz="1400" b="0" dirty="0"/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BB2ACD57-65DF-54AA-2CC7-8F282AD53004}"/>
              </a:ext>
            </a:extLst>
          </p:cNvPr>
          <p:cNvSpPr txBox="1"/>
          <p:nvPr/>
        </p:nvSpPr>
        <p:spPr bwMode="gray">
          <a:xfrm>
            <a:off x="5197405" y="270668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/>
          </a:p>
        </p:txBody>
      </p:sp>
      <p:sp>
        <p:nvSpPr>
          <p:cNvPr id="8" name="Rechthoek 6">
            <a:extLst>
              <a:ext uri="{FF2B5EF4-FFF2-40B4-BE49-F238E27FC236}">
                <a16:creationId xmlns:a16="http://schemas.microsoft.com/office/drawing/2014/main" id="{93C03B7E-42D0-70EC-1227-1A0FC4635B08}"/>
              </a:ext>
            </a:extLst>
          </p:cNvPr>
          <p:cNvSpPr/>
          <p:nvPr/>
        </p:nvSpPr>
        <p:spPr bwMode="gray">
          <a:xfrm>
            <a:off x="416492" y="1434379"/>
            <a:ext cx="10484870" cy="121832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7422265C-2E9A-08AA-62C1-DF144608F2CB}"/>
              </a:ext>
            </a:extLst>
          </p:cNvPr>
          <p:cNvSpPr txBox="1"/>
          <p:nvPr/>
        </p:nvSpPr>
        <p:spPr bwMode="gray">
          <a:xfrm>
            <a:off x="514158" y="1537799"/>
            <a:ext cx="1866461" cy="6415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GB" sz="1100" b="1" u="sng" dirty="0"/>
              <a:t>Runtime</a:t>
            </a:r>
            <a:br>
              <a:rPr lang="en-GB" sz="1100" b="1" u="sng" dirty="0"/>
            </a:br>
            <a:br>
              <a:rPr lang="en-GB" sz="1100" b="1" dirty="0"/>
            </a:br>
            <a:r>
              <a:rPr lang="en-GB" sz="1100" b="1" dirty="0"/>
              <a:t>Weekly</a:t>
            </a:r>
            <a:endParaRPr lang="en-US" sz="1100" dirty="0"/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006C3C8A-9970-C15F-AE9A-A5A382FF58F6}"/>
              </a:ext>
            </a:extLst>
          </p:cNvPr>
          <p:cNvSpPr txBox="1"/>
          <p:nvPr/>
        </p:nvSpPr>
        <p:spPr bwMode="gray">
          <a:xfrm>
            <a:off x="2636337" y="1538663"/>
            <a:ext cx="1821363" cy="82779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1100" b="1" u="sng" dirty="0"/>
              <a:t>Creatives</a:t>
            </a:r>
            <a:br>
              <a:rPr lang="en-GB" sz="1100" b="1" u="sng" dirty="0"/>
            </a:br>
            <a:br>
              <a:rPr lang="en-GB" sz="1100" b="1" dirty="0"/>
            </a:b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ingo-concept</a:t>
            </a: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with multiple products rotating</a:t>
            </a:r>
            <a:endParaRPr lang="nl-BE" sz="1100" dirty="0"/>
          </a:p>
        </p:txBody>
      </p:sp>
      <p:sp>
        <p:nvSpPr>
          <p:cNvPr id="33" name="Tekstvak 32">
            <a:extLst>
              <a:ext uri="{FF2B5EF4-FFF2-40B4-BE49-F238E27FC236}">
                <a16:creationId xmlns:a16="http://schemas.microsoft.com/office/drawing/2014/main" id="{12ECB7E3-B6D8-47CC-B651-8DD3999EACAF}"/>
              </a:ext>
            </a:extLst>
          </p:cNvPr>
          <p:cNvSpPr txBox="1"/>
          <p:nvPr/>
        </p:nvSpPr>
        <p:spPr bwMode="gray">
          <a:xfrm>
            <a:off x="4641815" y="1532850"/>
            <a:ext cx="1217623" cy="6415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GB" sz="1100" b="1" u="sng" dirty="0"/>
              <a:t>Formats</a:t>
            </a:r>
            <a:br>
              <a:rPr lang="en-GB" sz="1100" b="1" u="sng" dirty="0"/>
            </a:br>
            <a:br>
              <a:rPr lang="en-GB" sz="1100" b="1" dirty="0"/>
            </a:br>
            <a:r>
              <a:rPr lang="en-GB" sz="1100" b="1" dirty="0"/>
              <a:t>IAB </a:t>
            </a:r>
            <a:r>
              <a:rPr lang="en-GB" sz="1100" dirty="0"/>
              <a:t>– HTML5</a:t>
            </a:r>
            <a:endParaRPr lang="en-GB" sz="1100" b="1" dirty="0"/>
          </a:p>
        </p:txBody>
      </p:sp>
      <p:sp>
        <p:nvSpPr>
          <p:cNvPr id="34" name="Tekstvak 33">
            <a:extLst>
              <a:ext uri="{FF2B5EF4-FFF2-40B4-BE49-F238E27FC236}">
                <a16:creationId xmlns:a16="http://schemas.microsoft.com/office/drawing/2014/main" id="{3984F0E8-B471-7ADF-A249-B9CFDE8F6084}"/>
              </a:ext>
            </a:extLst>
          </p:cNvPr>
          <p:cNvSpPr txBox="1"/>
          <p:nvPr/>
        </p:nvSpPr>
        <p:spPr bwMode="gray">
          <a:xfrm>
            <a:off x="6066368" y="1537413"/>
            <a:ext cx="1185685" cy="6415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GB" sz="1100" b="1" u="sng" dirty="0"/>
              <a:t>Media</a:t>
            </a:r>
            <a:br>
              <a:rPr lang="en-GB" sz="1100" b="1" u="sng" dirty="0"/>
            </a:br>
            <a:br>
              <a:rPr lang="en-GB" sz="1100" b="1" dirty="0"/>
            </a:b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isplay</a:t>
            </a:r>
            <a:endParaRPr lang="en-US" sz="11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39" name="Rechte verbindingslijn 38">
            <a:extLst>
              <a:ext uri="{FF2B5EF4-FFF2-40B4-BE49-F238E27FC236}">
                <a16:creationId xmlns:a16="http://schemas.microsoft.com/office/drawing/2014/main" id="{C66EC887-1993-9FC9-D3C1-3367C25F9EAC}"/>
              </a:ext>
            </a:extLst>
          </p:cNvPr>
          <p:cNvCxnSpPr>
            <a:cxnSpLocks/>
          </p:cNvCxnSpPr>
          <p:nvPr/>
        </p:nvCxnSpPr>
        <p:spPr bwMode="gray">
          <a:xfrm>
            <a:off x="2518096" y="1536551"/>
            <a:ext cx="0" cy="975846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Rechte verbindingslijn 39">
            <a:extLst>
              <a:ext uri="{FF2B5EF4-FFF2-40B4-BE49-F238E27FC236}">
                <a16:creationId xmlns:a16="http://schemas.microsoft.com/office/drawing/2014/main" id="{7D3E8638-8D3A-60D9-D78A-0AF1B50207D5}"/>
              </a:ext>
            </a:extLst>
          </p:cNvPr>
          <p:cNvCxnSpPr>
            <a:cxnSpLocks/>
          </p:cNvCxnSpPr>
          <p:nvPr/>
        </p:nvCxnSpPr>
        <p:spPr bwMode="gray">
          <a:xfrm>
            <a:off x="7418107" y="1536551"/>
            <a:ext cx="0" cy="975846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Rechte verbindingslijn 40">
            <a:extLst>
              <a:ext uri="{FF2B5EF4-FFF2-40B4-BE49-F238E27FC236}">
                <a16:creationId xmlns:a16="http://schemas.microsoft.com/office/drawing/2014/main" id="{60A76F55-CB1B-DD97-EDA0-B404C5682348}"/>
              </a:ext>
            </a:extLst>
          </p:cNvPr>
          <p:cNvCxnSpPr>
            <a:cxnSpLocks/>
          </p:cNvCxnSpPr>
          <p:nvPr/>
        </p:nvCxnSpPr>
        <p:spPr bwMode="gray">
          <a:xfrm>
            <a:off x="8921738" y="1554624"/>
            <a:ext cx="0" cy="957773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kstvak 41">
            <a:extLst>
              <a:ext uri="{FF2B5EF4-FFF2-40B4-BE49-F238E27FC236}">
                <a16:creationId xmlns:a16="http://schemas.microsoft.com/office/drawing/2014/main" id="{917B102C-2E1E-5092-A8D4-AAC0F6246AB1}"/>
              </a:ext>
            </a:extLst>
          </p:cNvPr>
          <p:cNvSpPr txBox="1"/>
          <p:nvPr/>
        </p:nvSpPr>
        <p:spPr bwMode="gray">
          <a:xfrm>
            <a:off x="7584162" y="1537413"/>
            <a:ext cx="1181122" cy="82779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kumimoji="0" lang="en-GB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Content</a:t>
            </a:r>
            <a:br>
              <a:rPr lang="en-GB" sz="1100" b="1" dirty="0"/>
            </a:br>
            <a:br>
              <a:rPr lang="en-GB" sz="1100" b="1" dirty="0"/>
            </a:br>
            <a:r>
              <a:rPr lang="nl-BE" sz="1100" b="1" dirty="0"/>
              <a:t>Non-food products</a:t>
            </a:r>
            <a:endParaRPr lang="en-GB" sz="1100" b="1" dirty="0"/>
          </a:p>
        </p:txBody>
      </p:sp>
      <p:sp>
        <p:nvSpPr>
          <p:cNvPr id="43" name="Tekstvak 42">
            <a:extLst>
              <a:ext uri="{FF2B5EF4-FFF2-40B4-BE49-F238E27FC236}">
                <a16:creationId xmlns:a16="http://schemas.microsoft.com/office/drawing/2014/main" id="{7561A8E2-A9A5-557D-6EDA-6F3A31F4F679}"/>
              </a:ext>
            </a:extLst>
          </p:cNvPr>
          <p:cNvSpPr txBox="1"/>
          <p:nvPr/>
        </p:nvSpPr>
        <p:spPr bwMode="gray">
          <a:xfrm>
            <a:off x="9072180" y="1552478"/>
            <a:ext cx="1821358" cy="101399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GB" sz="1100" b="1" u="sng" dirty="0"/>
              <a:t>Audience</a:t>
            </a:r>
            <a:br>
              <a:rPr lang="en-GB" sz="1100" b="1" dirty="0"/>
            </a:br>
            <a:br>
              <a:rPr lang="en-GB" sz="1100" b="1" dirty="0"/>
            </a:br>
            <a:r>
              <a:rPr lang="en-GB" sz="1100" dirty="0"/>
              <a:t>affinity, 3rd</a:t>
            </a: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party, in-market, retargeting, engagers, </a:t>
            </a:r>
            <a:r>
              <a:rPr kumimoji="0" lang="en-GB" sz="11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rm</a:t>
            </a: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app, ...</a:t>
            </a:r>
            <a:endParaRPr lang="en-US" dirty="0">
              <a:ea typeface="+mn-ea"/>
              <a:cs typeface="+mn-cs"/>
            </a:endParaRP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id="{1F013A63-573E-958C-E65F-87745102FAAD}"/>
              </a:ext>
            </a:extLst>
          </p:cNvPr>
          <p:cNvCxnSpPr>
            <a:cxnSpLocks/>
          </p:cNvCxnSpPr>
          <p:nvPr/>
        </p:nvCxnSpPr>
        <p:spPr bwMode="gray">
          <a:xfrm>
            <a:off x="4522627" y="1525678"/>
            <a:ext cx="0" cy="98671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Rechte verbindingslijn 44">
            <a:extLst>
              <a:ext uri="{FF2B5EF4-FFF2-40B4-BE49-F238E27FC236}">
                <a16:creationId xmlns:a16="http://schemas.microsoft.com/office/drawing/2014/main" id="{AFB57F46-C826-2C4A-B88F-032FA164B156}"/>
              </a:ext>
            </a:extLst>
          </p:cNvPr>
          <p:cNvCxnSpPr>
            <a:cxnSpLocks/>
          </p:cNvCxnSpPr>
          <p:nvPr/>
        </p:nvCxnSpPr>
        <p:spPr bwMode="gray">
          <a:xfrm>
            <a:off x="5884880" y="1554624"/>
            <a:ext cx="0" cy="957773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Afbeelding 52">
            <a:extLst>
              <a:ext uri="{FF2B5EF4-FFF2-40B4-BE49-F238E27FC236}">
                <a16:creationId xmlns:a16="http://schemas.microsoft.com/office/drawing/2014/main" id="{C462356F-BE5B-3286-0D68-5BBE8E91F89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16000"/>
          </a:blip>
          <a:stretch>
            <a:fillRect/>
          </a:stretch>
        </p:blipFill>
        <p:spPr>
          <a:xfrm>
            <a:off x="-1027844" y="3496310"/>
            <a:ext cx="846846" cy="869048"/>
          </a:xfrm>
          <a:prstGeom prst="rect">
            <a:avLst/>
          </a:prstGeom>
        </p:spPr>
      </p:pic>
      <p:sp>
        <p:nvSpPr>
          <p:cNvPr id="6" name="Triangle 5">
            <a:extLst>
              <a:ext uri="{FF2B5EF4-FFF2-40B4-BE49-F238E27FC236}">
                <a16:creationId xmlns:a16="http://schemas.microsoft.com/office/drawing/2014/main" id="{456C4C6D-0B0D-B6DD-0479-C2958D4A73F5}"/>
              </a:ext>
            </a:extLst>
          </p:cNvPr>
          <p:cNvSpPr/>
          <p:nvPr/>
        </p:nvSpPr>
        <p:spPr bwMode="gray">
          <a:xfrm>
            <a:off x="1014252" y="3788686"/>
            <a:ext cx="1929410" cy="1280360"/>
          </a:xfrm>
          <a:prstGeom prst="triangl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BE" sz="12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NF </a:t>
            </a:r>
            <a:r>
              <a:rPr lang="en-GB" sz="1200" b="0" dirty="0">
                <a:solidFill>
                  <a:srgbClr val="0050AA"/>
                </a:solidFill>
                <a:latin typeface="Lidl Font Pro"/>
              </a:rPr>
              <a:t>f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older products</a:t>
            </a:r>
            <a:endParaRPr kumimoji="0" lang="en-BE" sz="12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12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46" name="Triangle 45">
            <a:extLst>
              <a:ext uri="{FF2B5EF4-FFF2-40B4-BE49-F238E27FC236}">
                <a16:creationId xmlns:a16="http://schemas.microsoft.com/office/drawing/2014/main" id="{F09DE1A6-9DB5-0340-39DD-FD857E61AEA1}"/>
              </a:ext>
            </a:extLst>
          </p:cNvPr>
          <p:cNvSpPr/>
          <p:nvPr/>
        </p:nvSpPr>
        <p:spPr bwMode="gray">
          <a:xfrm>
            <a:off x="2949224" y="3794818"/>
            <a:ext cx="1929410" cy="1280360"/>
          </a:xfrm>
          <a:prstGeom prst="triangl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BE" sz="12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NF </a:t>
            </a:r>
            <a:r>
              <a:rPr lang="en-GB" sz="1200" b="0" dirty="0">
                <a:solidFill>
                  <a:srgbClr val="0050AA"/>
                </a:solidFill>
                <a:latin typeface="Lidl Font Pro"/>
              </a:rPr>
              <a:t>f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older products</a:t>
            </a:r>
            <a:endParaRPr kumimoji="0" lang="en-BE" sz="12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12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47" name="Triangle 46">
            <a:extLst>
              <a:ext uri="{FF2B5EF4-FFF2-40B4-BE49-F238E27FC236}">
                <a16:creationId xmlns:a16="http://schemas.microsoft.com/office/drawing/2014/main" id="{7F2A5BBB-4ABA-7171-69DC-CAE78FC5B14D}"/>
              </a:ext>
            </a:extLst>
          </p:cNvPr>
          <p:cNvSpPr/>
          <p:nvPr/>
        </p:nvSpPr>
        <p:spPr bwMode="gray">
          <a:xfrm>
            <a:off x="4868166" y="3787474"/>
            <a:ext cx="1929410" cy="1280360"/>
          </a:xfrm>
          <a:prstGeom prst="triangl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BE" sz="12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NF </a:t>
            </a:r>
            <a:r>
              <a:rPr lang="en-GB" sz="1200" b="0" dirty="0">
                <a:solidFill>
                  <a:srgbClr val="0050AA"/>
                </a:solidFill>
                <a:latin typeface="Lidl Font Pro"/>
              </a:rPr>
              <a:t>f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older products</a:t>
            </a:r>
            <a:endParaRPr kumimoji="0" lang="en-BE" sz="12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12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48" name="Triangle 47">
            <a:extLst>
              <a:ext uri="{FF2B5EF4-FFF2-40B4-BE49-F238E27FC236}">
                <a16:creationId xmlns:a16="http://schemas.microsoft.com/office/drawing/2014/main" id="{FA784FD1-4EEE-5EBE-855E-84B9C6AD8E30}"/>
              </a:ext>
            </a:extLst>
          </p:cNvPr>
          <p:cNvSpPr/>
          <p:nvPr/>
        </p:nvSpPr>
        <p:spPr bwMode="gray">
          <a:xfrm>
            <a:off x="6795824" y="3794818"/>
            <a:ext cx="1929410" cy="1280360"/>
          </a:xfrm>
          <a:prstGeom prst="triangl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BE" sz="12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NF </a:t>
            </a:r>
            <a:r>
              <a:rPr lang="en-GB" sz="1200" b="0" dirty="0">
                <a:solidFill>
                  <a:srgbClr val="0050AA"/>
                </a:solidFill>
                <a:latin typeface="Lidl Font Pro"/>
              </a:rPr>
              <a:t>f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older products</a:t>
            </a:r>
            <a:endParaRPr kumimoji="0" lang="en-BE" sz="12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BE" sz="12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pic>
        <p:nvPicPr>
          <p:cNvPr id="2" name="Picture 1" descr="A close-up of a logo&#10;&#10;AI-generated content may be incorrect.">
            <a:extLst>
              <a:ext uri="{FF2B5EF4-FFF2-40B4-BE49-F238E27FC236}">
                <a16:creationId xmlns:a16="http://schemas.microsoft.com/office/drawing/2014/main" id="{DBCAAC2E-6A77-57F2-C690-C3BD7931D5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536" y="5877668"/>
            <a:ext cx="118745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5832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EEE910-84AF-3014-A90F-65C270B108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E4591CE-512A-305B-79CD-A96601EC5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247" y="637259"/>
            <a:ext cx="11084121" cy="576000"/>
          </a:xfrm>
        </p:spPr>
        <p:txBody>
          <a:bodyPr/>
          <a:lstStyle/>
          <a:p>
            <a:r>
              <a:rPr lang="nl-BE" sz="2600" dirty="0"/>
              <a:t>Marketing stack </a:t>
            </a:r>
            <a:r>
              <a:rPr lang="nl-BE" sz="2600" dirty="0" err="1"/>
              <a:t>to</a:t>
            </a:r>
            <a:r>
              <a:rPr lang="nl-BE" sz="2600" dirty="0"/>
              <a:t> </a:t>
            </a:r>
            <a:r>
              <a:rPr lang="nl-BE" sz="2600" dirty="0" err="1"/>
              <a:t>succeed</a:t>
            </a:r>
            <a:endParaRPr lang="en-US" sz="2600" dirty="0" err="1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69C5598-205F-C9FB-A044-1041F60BE55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11110503" y="6159608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nl-be"/>
            </a:defPPr>
            <a:lvl1pPr marL="0" algn="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CFDFCC3-8B40-4EE5-B231-005F2F1C6A68}" type="slidenum">
              <a:rPr lang="de-DE" smtClean="0"/>
              <a:pPr/>
              <a:t>4</a:t>
            </a:fld>
            <a:endParaRPr lang="de-DE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B6D6FE4-9AE2-A61C-D793-4CB3133EBB36}"/>
              </a:ext>
            </a:extLst>
          </p:cNvPr>
          <p:cNvGrpSpPr/>
          <p:nvPr/>
        </p:nvGrpSpPr>
        <p:grpSpPr>
          <a:xfrm>
            <a:off x="4499908" y="2776760"/>
            <a:ext cx="6242423" cy="1879045"/>
            <a:chOff x="4494808" y="1707134"/>
            <a:chExt cx="6242423" cy="1879045"/>
          </a:xfrm>
        </p:grpSpPr>
        <p:sp>
          <p:nvSpPr>
            <p:cNvPr id="5" name="Rechthoek 4">
              <a:extLst>
                <a:ext uri="{FF2B5EF4-FFF2-40B4-BE49-F238E27FC236}">
                  <a16:creationId xmlns:a16="http://schemas.microsoft.com/office/drawing/2014/main" id="{C8BF3D05-9E58-FDB7-D22C-DAEDC6420426}"/>
                </a:ext>
              </a:extLst>
            </p:cNvPr>
            <p:cNvSpPr/>
            <p:nvPr/>
          </p:nvSpPr>
          <p:spPr bwMode="gray">
            <a:xfrm>
              <a:off x="4494808" y="1848629"/>
              <a:ext cx="2752192" cy="17375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err="1">
                <a:solidFill>
                  <a:schemeClr val="bg1"/>
                </a:solidFill>
              </a:endParaRPr>
            </a:p>
          </p:txBody>
        </p:sp>
        <p:sp>
          <p:nvSpPr>
            <p:cNvPr id="6" name="Rechthoek 5">
              <a:extLst>
                <a:ext uri="{FF2B5EF4-FFF2-40B4-BE49-F238E27FC236}">
                  <a16:creationId xmlns:a16="http://schemas.microsoft.com/office/drawing/2014/main" id="{493B2A9B-598E-DC9D-E944-74EFC5E40C83}"/>
                </a:ext>
              </a:extLst>
            </p:cNvPr>
            <p:cNvSpPr/>
            <p:nvPr/>
          </p:nvSpPr>
          <p:spPr bwMode="gray">
            <a:xfrm>
              <a:off x="7985039" y="1848629"/>
              <a:ext cx="2752192" cy="17375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err="1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5E47891-2626-A281-9BBA-CF5C403F6F07}"/>
                </a:ext>
              </a:extLst>
            </p:cNvPr>
            <p:cNvSpPr/>
            <p:nvPr/>
          </p:nvSpPr>
          <p:spPr bwMode="gray">
            <a:xfrm>
              <a:off x="4711744" y="1707134"/>
              <a:ext cx="2379480" cy="369657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err="1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6925EF6-BACD-F861-9AE9-8A4D1C79AB8A}"/>
                </a:ext>
              </a:extLst>
            </p:cNvPr>
            <p:cNvSpPr/>
            <p:nvPr/>
          </p:nvSpPr>
          <p:spPr bwMode="gray">
            <a:xfrm>
              <a:off x="8178739" y="1707134"/>
              <a:ext cx="2379479" cy="369657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err="1">
                <a:solidFill>
                  <a:schemeClr val="bg1"/>
                </a:solidFill>
              </a:endParaRPr>
            </a:p>
          </p:txBody>
        </p:sp>
        <p:sp>
          <p:nvSpPr>
            <p:cNvPr id="17" name="Tekstvak 16">
              <a:extLst>
                <a:ext uri="{FF2B5EF4-FFF2-40B4-BE49-F238E27FC236}">
                  <a16:creationId xmlns:a16="http://schemas.microsoft.com/office/drawing/2014/main" id="{3F24B62D-23E0-D070-8AE5-02927317D9CF}"/>
                </a:ext>
              </a:extLst>
            </p:cNvPr>
            <p:cNvSpPr txBox="1"/>
            <p:nvPr/>
          </p:nvSpPr>
          <p:spPr bwMode="gray">
            <a:xfrm>
              <a:off x="4712360" y="1737696"/>
              <a:ext cx="2379480" cy="3202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nl-BE" b="1" dirty="0"/>
                <a:t>CM360</a:t>
              </a:r>
            </a:p>
          </p:txBody>
        </p:sp>
        <p:sp>
          <p:nvSpPr>
            <p:cNvPr id="18" name="Tekstvak 17">
              <a:extLst>
                <a:ext uri="{FF2B5EF4-FFF2-40B4-BE49-F238E27FC236}">
                  <a16:creationId xmlns:a16="http://schemas.microsoft.com/office/drawing/2014/main" id="{10D94ADE-91A6-1F7A-6F1C-96BB377BE5E8}"/>
                </a:ext>
              </a:extLst>
            </p:cNvPr>
            <p:cNvSpPr txBox="1"/>
            <p:nvPr/>
          </p:nvSpPr>
          <p:spPr bwMode="gray">
            <a:xfrm>
              <a:off x="8178739" y="1737696"/>
              <a:ext cx="2379479" cy="3202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nl-BE" b="1" dirty="0"/>
                <a:t>DV360</a:t>
              </a:r>
            </a:p>
          </p:txBody>
        </p:sp>
        <p:pic>
          <p:nvPicPr>
            <p:cNvPr id="1030" name="Picture 6" descr="What You Need to Know about DV360 vs CM360.">
              <a:extLst>
                <a:ext uri="{FF2B5EF4-FFF2-40B4-BE49-F238E27FC236}">
                  <a16:creationId xmlns:a16="http://schemas.microsoft.com/office/drawing/2014/main" id="{DA7BFBE6-3C03-4F1F-A2D7-F3251FAA65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8478" y="2359374"/>
              <a:ext cx="1599999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Ferramentas - Predicta">
              <a:extLst>
                <a:ext uri="{FF2B5EF4-FFF2-40B4-BE49-F238E27FC236}">
                  <a16:creationId xmlns:a16="http://schemas.microsoft.com/office/drawing/2014/main" id="{135B25E6-D213-5E66-6359-CACB421B2F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85941" y="2199463"/>
              <a:ext cx="1332000" cy="13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333E8CB-49FC-84BD-63DE-6D365E256D23}"/>
              </a:ext>
            </a:extLst>
          </p:cNvPr>
          <p:cNvGrpSpPr/>
          <p:nvPr/>
        </p:nvGrpSpPr>
        <p:grpSpPr>
          <a:xfrm>
            <a:off x="966651" y="1556822"/>
            <a:ext cx="2752192" cy="4343147"/>
            <a:chOff x="966651" y="1556822"/>
            <a:chExt cx="2752192" cy="4343147"/>
          </a:xfrm>
        </p:grpSpPr>
        <p:sp>
          <p:nvSpPr>
            <p:cNvPr id="3" name="Rechthoek 2">
              <a:extLst>
                <a:ext uri="{FF2B5EF4-FFF2-40B4-BE49-F238E27FC236}">
                  <a16:creationId xmlns:a16="http://schemas.microsoft.com/office/drawing/2014/main" id="{5F052D16-8353-9172-5DA7-5C4FADF1E0EF}"/>
                </a:ext>
              </a:extLst>
            </p:cNvPr>
            <p:cNvSpPr/>
            <p:nvPr/>
          </p:nvSpPr>
          <p:spPr bwMode="gray">
            <a:xfrm>
              <a:off x="966651" y="1704615"/>
              <a:ext cx="2752192" cy="17375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err="1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742BF70-580B-7876-FEED-C8970A08BDD5}"/>
                </a:ext>
              </a:extLst>
            </p:cNvPr>
            <p:cNvSpPr/>
            <p:nvPr/>
          </p:nvSpPr>
          <p:spPr bwMode="gray">
            <a:xfrm>
              <a:off x="1296908" y="1556822"/>
              <a:ext cx="2038204" cy="369657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err="1">
                <a:solidFill>
                  <a:schemeClr val="bg1"/>
                </a:solidFill>
              </a:endParaRPr>
            </a:p>
          </p:txBody>
        </p:sp>
        <p:sp>
          <p:nvSpPr>
            <p:cNvPr id="16" name="Tekstvak 15">
              <a:extLst>
                <a:ext uri="{FF2B5EF4-FFF2-40B4-BE49-F238E27FC236}">
                  <a16:creationId xmlns:a16="http://schemas.microsoft.com/office/drawing/2014/main" id="{1DB50F41-0BAF-B7B0-6AC3-18B5BEFB61E7}"/>
                </a:ext>
              </a:extLst>
            </p:cNvPr>
            <p:cNvSpPr txBox="1"/>
            <p:nvPr/>
          </p:nvSpPr>
          <p:spPr bwMode="gray">
            <a:xfrm>
              <a:off x="1394866" y="1587384"/>
              <a:ext cx="1815503" cy="3202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nl-BE" b="1" dirty="0"/>
                <a:t>Data</a:t>
              </a:r>
            </a:p>
          </p:txBody>
        </p:sp>
        <p:sp>
          <p:nvSpPr>
            <p:cNvPr id="7" name="Rechthoek 2">
              <a:extLst>
                <a:ext uri="{FF2B5EF4-FFF2-40B4-BE49-F238E27FC236}">
                  <a16:creationId xmlns:a16="http://schemas.microsoft.com/office/drawing/2014/main" id="{39DA2ED1-79C0-4353-0345-E8840519DA90}"/>
                </a:ext>
              </a:extLst>
            </p:cNvPr>
            <p:cNvSpPr/>
            <p:nvPr/>
          </p:nvSpPr>
          <p:spPr bwMode="gray">
            <a:xfrm>
              <a:off x="966651" y="4162419"/>
              <a:ext cx="2752192" cy="173755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err="1">
                <a:solidFill>
                  <a:schemeClr val="bg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9ADF8EF-2300-FAAB-D4AF-87032523E3D9}"/>
                </a:ext>
              </a:extLst>
            </p:cNvPr>
            <p:cNvSpPr/>
            <p:nvPr/>
          </p:nvSpPr>
          <p:spPr bwMode="gray">
            <a:xfrm>
              <a:off x="1296908" y="3999606"/>
              <a:ext cx="2038204" cy="369657"/>
            </a:xfrm>
            <a:prstGeom prst="rect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err="1">
                <a:solidFill>
                  <a:schemeClr val="bg1"/>
                </a:solidFill>
              </a:endParaRPr>
            </a:p>
          </p:txBody>
        </p:sp>
        <p:sp>
          <p:nvSpPr>
            <p:cNvPr id="26" name="Tekstvak 15">
              <a:extLst>
                <a:ext uri="{FF2B5EF4-FFF2-40B4-BE49-F238E27FC236}">
                  <a16:creationId xmlns:a16="http://schemas.microsoft.com/office/drawing/2014/main" id="{0E47E90D-4C07-B365-76A5-B097BB96AA91}"/>
                </a:ext>
              </a:extLst>
            </p:cNvPr>
            <p:cNvSpPr txBox="1"/>
            <p:nvPr/>
          </p:nvSpPr>
          <p:spPr bwMode="gray">
            <a:xfrm>
              <a:off x="1394866" y="4045188"/>
              <a:ext cx="1815503" cy="3202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nl-BE" b="1" dirty="0"/>
                <a:t>Studio</a:t>
              </a:r>
            </a:p>
          </p:txBody>
        </p:sp>
        <p:pic>
          <p:nvPicPr>
            <p:cNvPr id="29" name="Picture 2" descr="Creative Studio – newage. - digital advertising agency">
              <a:extLst>
                <a:ext uri="{FF2B5EF4-FFF2-40B4-BE49-F238E27FC236}">
                  <a16:creationId xmlns:a16="http://schemas.microsoft.com/office/drawing/2014/main" id="{48E059B9-6670-1DB3-F48D-79DCBCE2DE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9669" y="4445927"/>
              <a:ext cx="1732681" cy="5716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4" descr="Google Sheets: Best practices to prepare your data for publishing in your  dashboard | Klipfolio">
              <a:extLst>
                <a:ext uri="{FF2B5EF4-FFF2-40B4-BE49-F238E27FC236}">
                  <a16:creationId xmlns:a16="http://schemas.microsoft.com/office/drawing/2014/main" id="{F1463F84-9B18-637C-AF1C-63AEB067B7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6156" y="5070394"/>
              <a:ext cx="1433182" cy="7755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Data - Free computer icons">
              <a:extLst>
                <a:ext uri="{FF2B5EF4-FFF2-40B4-BE49-F238E27FC236}">
                  <a16:creationId xmlns:a16="http://schemas.microsoft.com/office/drawing/2014/main" id="{631D5FFD-A6FA-C4FD-03DD-EA7DD0E999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9318" y="2183271"/>
              <a:ext cx="1093381" cy="1093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0" name="Plus 39">
            <a:extLst>
              <a:ext uri="{FF2B5EF4-FFF2-40B4-BE49-F238E27FC236}">
                <a16:creationId xmlns:a16="http://schemas.microsoft.com/office/drawing/2014/main" id="{0BC52633-3CF7-364B-F979-784E479035C0}"/>
              </a:ext>
            </a:extLst>
          </p:cNvPr>
          <p:cNvSpPr/>
          <p:nvPr/>
        </p:nvSpPr>
        <p:spPr bwMode="gray">
          <a:xfrm>
            <a:off x="2120990" y="3544732"/>
            <a:ext cx="363254" cy="379030"/>
          </a:xfrm>
          <a:prstGeom prst="mathPlus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43" name="Right Arrow 42">
            <a:extLst>
              <a:ext uri="{FF2B5EF4-FFF2-40B4-BE49-F238E27FC236}">
                <a16:creationId xmlns:a16="http://schemas.microsoft.com/office/drawing/2014/main" id="{7C68FAB6-5A3F-15C5-97F1-F2D1BF778FEF}"/>
              </a:ext>
            </a:extLst>
          </p:cNvPr>
          <p:cNvSpPr/>
          <p:nvPr/>
        </p:nvSpPr>
        <p:spPr bwMode="gray">
          <a:xfrm>
            <a:off x="3908960" y="3583988"/>
            <a:ext cx="400832" cy="300517"/>
          </a:xfrm>
          <a:prstGeom prst="rightArrow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46" name="Right Arrow 45">
            <a:extLst>
              <a:ext uri="{FF2B5EF4-FFF2-40B4-BE49-F238E27FC236}">
                <a16:creationId xmlns:a16="http://schemas.microsoft.com/office/drawing/2014/main" id="{B1A55056-407B-CAC6-77C5-369377E4D15B}"/>
              </a:ext>
            </a:extLst>
          </p:cNvPr>
          <p:cNvSpPr/>
          <p:nvPr/>
        </p:nvSpPr>
        <p:spPr bwMode="gray">
          <a:xfrm>
            <a:off x="7442216" y="3583988"/>
            <a:ext cx="400832" cy="300517"/>
          </a:xfrm>
          <a:prstGeom prst="rightArrow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</a:endParaRPr>
          </a:p>
        </p:txBody>
      </p:sp>
      <p:pic>
        <p:nvPicPr>
          <p:cNvPr id="2" name="Picture 1" descr="A close-up of a logo&#10;&#10;AI-generated content may be incorrect.">
            <a:extLst>
              <a:ext uri="{FF2B5EF4-FFF2-40B4-BE49-F238E27FC236}">
                <a16:creationId xmlns:a16="http://schemas.microsoft.com/office/drawing/2014/main" id="{AAD8ED58-D11C-BC5F-AD78-EF525A67C4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536" y="5877668"/>
            <a:ext cx="118745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527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B940A3-276B-7CAF-7F15-BE020EB65A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D827F6A4-719F-9F21-43F0-85202F8322C2}"/>
              </a:ext>
            </a:extLst>
          </p:cNvPr>
          <p:cNvSpPr/>
          <p:nvPr/>
        </p:nvSpPr>
        <p:spPr bwMode="gray">
          <a:xfrm>
            <a:off x="966651" y="1854926"/>
            <a:ext cx="2752192" cy="373189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8BDFD7A3-D0AE-FDE6-241B-3AFE2811552A}"/>
              </a:ext>
            </a:extLst>
          </p:cNvPr>
          <p:cNvSpPr/>
          <p:nvPr/>
        </p:nvSpPr>
        <p:spPr bwMode="gray">
          <a:xfrm>
            <a:off x="4494808" y="1848629"/>
            <a:ext cx="2752192" cy="373819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2BF25DDC-2982-0AF7-DA58-ACFDF443E96C}"/>
              </a:ext>
            </a:extLst>
          </p:cNvPr>
          <p:cNvSpPr/>
          <p:nvPr/>
        </p:nvSpPr>
        <p:spPr bwMode="gray">
          <a:xfrm>
            <a:off x="7985039" y="1848629"/>
            <a:ext cx="2752192" cy="373819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err="1">
              <a:solidFill>
                <a:schemeClr val="bg1"/>
              </a:solidFill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B25690C-8C08-8F8F-6232-7700DC6DC92A}"/>
              </a:ext>
            </a:extLst>
          </p:cNvPr>
          <p:cNvSpPr/>
          <p:nvPr/>
        </p:nvSpPr>
        <p:spPr bwMode="gray">
          <a:xfrm>
            <a:off x="8229870" y="2346352"/>
            <a:ext cx="556771" cy="556771"/>
          </a:xfrm>
          <a:prstGeom prst="ellips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BE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D6B7575-41B5-90D2-6CD6-DD883D0922B0}"/>
              </a:ext>
            </a:extLst>
          </p:cNvPr>
          <p:cNvSpPr/>
          <p:nvPr/>
        </p:nvSpPr>
        <p:spPr bwMode="gray">
          <a:xfrm>
            <a:off x="8229870" y="3134883"/>
            <a:ext cx="556771" cy="556771"/>
          </a:xfrm>
          <a:prstGeom prst="ellips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BE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F601B7F-1352-8328-9BCF-652D98AA5AB3}"/>
              </a:ext>
            </a:extLst>
          </p:cNvPr>
          <p:cNvSpPr/>
          <p:nvPr/>
        </p:nvSpPr>
        <p:spPr bwMode="gray">
          <a:xfrm>
            <a:off x="8229870" y="3923414"/>
            <a:ext cx="556771" cy="556771"/>
          </a:xfrm>
          <a:prstGeom prst="ellips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BE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BC4F1EF-ACCB-9127-0E62-ABA0F525F401}"/>
              </a:ext>
            </a:extLst>
          </p:cNvPr>
          <p:cNvSpPr/>
          <p:nvPr/>
        </p:nvSpPr>
        <p:spPr bwMode="gray">
          <a:xfrm>
            <a:off x="1296908" y="1707134"/>
            <a:ext cx="2038204" cy="36965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 err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7E84F9-C0F4-B33A-5E6D-6A7AE4C990C6}"/>
              </a:ext>
            </a:extLst>
          </p:cNvPr>
          <p:cNvSpPr/>
          <p:nvPr/>
        </p:nvSpPr>
        <p:spPr bwMode="gray">
          <a:xfrm>
            <a:off x="4711744" y="1707134"/>
            <a:ext cx="2379480" cy="36965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 err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DF76F5C-C338-9907-5BC1-420368948FFB}"/>
              </a:ext>
            </a:extLst>
          </p:cNvPr>
          <p:cNvSpPr/>
          <p:nvPr/>
        </p:nvSpPr>
        <p:spPr bwMode="gray">
          <a:xfrm>
            <a:off x="8178739" y="1707134"/>
            <a:ext cx="2379479" cy="36965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 err="1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0777E5-294F-12F0-F150-E31CF2BFD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247" y="637259"/>
            <a:ext cx="11084121" cy="576000"/>
          </a:xfrm>
        </p:spPr>
        <p:txBody>
          <a:bodyPr/>
          <a:lstStyle/>
          <a:p>
            <a:r>
              <a:rPr lang="nl-BE" sz="2600" dirty="0"/>
              <a:t>Using </a:t>
            </a:r>
            <a:r>
              <a:rPr lang="nl-BE" sz="2600" dirty="0" err="1"/>
              <a:t>and</a:t>
            </a:r>
            <a:r>
              <a:rPr lang="nl-BE" sz="2600" dirty="0"/>
              <a:t> </a:t>
            </a:r>
            <a:r>
              <a:rPr lang="nl-BE" sz="2600" dirty="0" err="1"/>
              <a:t>combining</a:t>
            </a:r>
            <a:r>
              <a:rPr lang="nl-BE" sz="2600" dirty="0"/>
              <a:t> multiple data sources</a:t>
            </a:r>
            <a:endParaRPr lang="en-US" sz="260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A8FA99-533F-E32D-7D30-82B5C2A6E7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>
          <a:xfrm>
            <a:off x="11110503" y="6159608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nl-be"/>
            </a:defPPr>
            <a:lvl1pPr marL="0" algn="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00000" indent="-200000" algn="l" rtl="0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10000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CFDFCC3-8B40-4EE5-B231-005F2F1C6A68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11" name="Picture 7">
            <a:extLst>
              <a:ext uri="{FF2B5EF4-FFF2-40B4-BE49-F238E27FC236}">
                <a16:creationId xmlns:a16="http://schemas.microsoft.com/office/drawing/2014/main" id="{8BA48A21-987B-87CB-A050-266BA875B1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613" t="4667" r="22294" b="2901"/>
          <a:stretch/>
        </p:blipFill>
        <p:spPr>
          <a:xfrm>
            <a:off x="1394866" y="3626434"/>
            <a:ext cx="1569084" cy="1449823"/>
          </a:xfrm>
          <a:prstGeom prst="rect">
            <a:avLst/>
          </a:prstGeom>
        </p:spPr>
      </p:pic>
      <p:grpSp>
        <p:nvGrpSpPr>
          <p:cNvPr id="12" name="Group 13">
            <a:extLst>
              <a:ext uri="{FF2B5EF4-FFF2-40B4-BE49-F238E27FC236}">
                <a16:creationId xmlns:a16="http://schemas.microsoft.com/office/drawing/2014/main" id="{36D859A9-B508-D9B0-6F68-548B7C02CCA4}"/>
              </a:ext>
            </a:extLst>
          </p:cNvPr>
          <p:cNvGrpSpPr/>
          <p:nvPr/>
        </p:nvGrpSpPr>
        <p:grpSpPr>
          <a:xfrm>
            <a:off x="1095166" y="2351713"/>
            <a:ext cx="2239946" cy="1336076"/>
            <a:chOff x="144967" y="2708672"/>
            <a:chExt cx="4821253" cy="2875765"/>
          </a:xfrm>
        </p:grpSpPr>
        <p:pic>
          <p:nvPicPr>
            <p:cNvPr id="13" name="Picture 9" descr="A computer with a blank screen&#10;&#10;Description automatically generated">
              <a:extLst>
                <a:ext uri="{FF2B5EF4-FFF2-40B4-BE49-F238E27FC236}">
                  <a16:creationId xmlns:a16="http://schemas.microsoft.com/office/drawing/2014/main" id="{213DF9B7-84FC-7D92-8AA5-3AD1DA8718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4967" y="2731628"/>
              <a:ext cx="4821253" cy="2852809"/>
            </a:xfrm>
            <a:prstGeom prst="rect">
              <a:avLst/>
            </a:prstGeom>
          </p:spPr>
        </p:pic>
        <p:pic>
          <p:nvPicPr>
            <p:cNvPr id="14" name="Picture 12" descr="A screenshot of a store&#10;&#10;Description automatically generated">
              <a:extLst>
                <a:ext uri="{FF2B5EF4-FFF2-40B4-BE49-F238E27FC236}">
                  <a16:creationId xmlns:a16="http://schemas.microsoft.com/office/drawing/2014/main" id="{CFAC3F9C-AF93-8FDC-15E5-C902D32C5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4586" y="2708672"/>
              <a:ext cx="4022067" cy="2625909"/>
            </a:xfrm>
            <a:prstGeom prst="rect">
              <a:avLst/>
            </a:prstGeom>
          </p:spPr>
        </p:pic>
      </p:grpSp>
      <p:pic>
        <p:nvPicPr>
          <p:cNvPr id="15" name="Picture 3" descr="A screenshot of a phone&#10;&#10;Description automatically generated">
            <a:extLst>
              <a:ext uri="{FF2B5EF4-FFF2-40B4-BE49-F238E27FC236}">
                <a16:creationId xmlns:a16="http://schemas.microsoft.com/office/drawing/2014/main" id="{3A245420-3284-D690-9228-8BD9465CF8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1696" y="2986661"/>
            <a:ext cx="867147" cy="1615139"/>
          </a:xfrm>
          <a:prstGeom prst="rect">
            <a:avLst/>
          </a:prstGeom>
        </p:spPr>
      </p:pic>
      <p:sp>
        <p:nvSpPr>
          <p:cNvPr id="16" name="Tekstvak 15">
            <a:extLst>
              <a:ext uri="{FF2B5EF4-FFF2-40B4-BE49-F238E27FC236}">
                <a16:creationId xmlns:a16="http://schemas.microsoft.com/office/drawing/2014/main" id="{BCB3EA9D-6559-2373-3FE7-0B55D590496A}"/>
              </a:ext>
            </a:extLst>
          </p:cNvPr>
          <p:cNvSpPr txBox="1"/>
          <p:nvPr/>
        </p:nvSpPr>
        <p:spPr bwMode="gray">
          <a:xfrm>
            <a:off x="1394866" y="1737696"/>
            <a:ext cx="1815503" cy="3202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b="1"/>
              <a:t>Owned channels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CF9B972E-6AB9-845B-83F3-3FC652BBD29A}"/>
              </a:ext>
            </a:extLst>
          </p:cNvPr>
          <p:cNvSpPr txBox="1"/>
          <p:nvPr/>
        </p:nvSpPr>
        <p:spPr bwMode="gray">
          <a:xfrm>
            <a:off x="4712360" y="1737696"/>
            <a:ext cx="2379480" cy="3202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nl-BE" b="1"/>
              <a:t>Owned data sources</a:t>
            </a:r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C6E87626-5DBD-729E-3A49-F7C9320A9191}"/>
              </a:ext>
            </a:extLst>
          </p:cNvPr>
          <p:cNvSpPr txBox="1"/>
          <p:nvPr/>
        </p:nvSpPr>
        <p:spPr bwMode="gray">
          <a:xfrm>
            <a:off x="8352783" y="1737696"/>
            <a:ext cx="2320354" cy="3202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nl-BE" b="1"/>
              <a:t>External enrichment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D1D65A8-0362-BCE1-025B-F83C15BA1D8C}"/>
              </a:ext>
            </a:extLst>
          </p:cNvPr>
          <p:cNvGrpSpPr/>
          <p:nvPr/>
        </p:nvGrpSpPr>
        <p:grpSpPr>
          <a:xfrm>
            <a:off x="4792762" y="2387527"/>
            <a:ext cx="2239946" cy="1336076"/>
            <a:chOff x="4923663" y="2828411"/>
            <a:chExt cx="2239946" cy="1336076"/>
          </a:xfrm>
        </p:grpSpPr>
        <p:grpSp>
          <p:nvGrpSpPr>
            <p:cNvPr id="21" name="Group 13">
              <a:extLst>
                <a:ext uri="{FF2B5EF4-FFF2-40B4-BE49-F238E27FC236}">
                  <a16:creationId xmlns:a16="http://schemas.microsoft.com/office/drawing/2014/main" id="{05C7EC68-AAD7-DE92-7B68-75CBF9411B0B}"/>
                </a:ext>
              </a:extLst>
            </p:cNvPr>
            <p:cNvGrpSpPr/>
            <p:nvPr/>
          </p:nvGrpSpPr>
          <p:grpSpPr>
            <a:xfrm>
              <a:off x="4923663" y="2828411"/>
              <a:ext cx="2239946" cy="1336076"/>
              <a:chOff x="144967" y="2708672"/>
              <a:chExt cx="4821253" cy="2875765"/>
            </a:xfrm>
          </p:grpSpPr>
          <p:pic>
            <p:nvPicPr>
              <p:cNvPr id="22" name="Picture 9" descr="A computer with a blank screen&#10;&#10;Description automatically generated">
                <a:extLst>
                  <a:ext uri="{FF2B5EF4-FFF2-40B4-BE49-F238E27FC236}">
                    <a16:creationId xmlns:a16="http://schemas.microsoft.com/office/drawing/2014/main" id="{5CDD68BC-9612-E0D9-F0FF-122671AB41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44967" y="2731628"/>
                <a:ext cx="4821253" cy="2852809"/>
              </a:xfrm>
              <a:prstGeom prst="rect">
                <a:avLst/>
              </a:prstGeom>
            </p:spPr>
          </p:pic>
          <p:pic>
            <p:nvPicPr>
              <p:cNvPr id="23" name="Picture 12" descr="A screenshot of a store&#10;&#10;Description automatically generated">
                <a:extLst>
                  <a:ext uri="{FF2B5EF4-FFF2-40B4-BE49-F238E27FC236}">
                    <a16:creationId xmlns:a16="http://schemas.microsoft.com/office/drawing/2014/main" id="{D028FE00-0DEC-D195-9F26-AE1F7CE815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44586" y="2708672"/>
                <a:ext cx="4022067" cy="2625909"/>
              </a:xfrm>
              <a:prstGeom prst="rect">
                <a:avLst/>
              </a:prstGeom>
            </p:spPr>
          </p:pic>
        </p:grpSp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000E6BA4-4344-764A-DEAB-6878D49CB37B}"/>
                </a:ext>
              </a:extLst>
            </p:cNvPr>
            <p:cNvSpPr/>
            <p:nvPr/>
          </p:nvSpPr>
          <p:spPr bwMode="gray">
            <a:xfrm>
              <a:off x="5157396" y="2856842"/>
              <a:ext cx="1770453" cy="1156591"/>
            </a:xfrm>
            <a:prstGeom prst="roundRect">
              <a:avLst>
                <a:gd name="adj" fmla="val 2995"/>
              </a:avLst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err="1">
                <a:solidFill>
                  <a:schemeClr val="bg1"/>
                </a:solidFill>
              </a:endParaRPr>
            </a:p>
          </p:txBody>
        </p:sp>
        <p:pic>
          <p:nvPicPr>
            <p:cNvPr id="1026" name="Picture 2" descr="Analytics 360 | Cardinal Path">
              <a:extLst>
                <a:ext uri="{FF2B5EF4-FFF2-40B4-BE49-F238E27FC236}">
                  <a16:creationId xmlns:a16="http://schemas.microsoft.com/office/drawing/2014/main" id="{C4CB4F36-00E1-663C-1FC3-CA00DB8256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3318"/>
            <a:stretch/>
          </p:blipFill>
          <p:spPr bwMode="auto">
            <a:xfrm>
              <a:off x="5170597" y="2872987"/>
              <a:ext cx="1744552" cy="1130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28" name="Picture 4" descr="Salesforce - Wikipedia">
            <a:extLst>
              <a:ext uri="{FF2B5EF4-FFF2-40B4-BE49-F238E27FC236}">
                <a16:creationId xmlns:a16="http://schemas.microsoft.com/office/drawing/2014/main" id="{87E54DD6-3ED8-0610-3FF6-8CEE1EB12F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6779" y="3928921"/>
            <a:ext cx="1634472" cy="1144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A6966B8C-F974-104D-84D1-2E406FD435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18162" y="4028065"/>
            <a:ext cx="381461" cy="379294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6C186724-2935-9A87-C0DD-61CED053E65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11849" y="2398192"/>
            <a:ext cx="406738" cy="406738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315AA227-7FCA-9EB7-E9A2-2BDC03CD29D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327464" y="3200046"/>
            <a:ext cx="365040" cy="362978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4304BF2A-D02F-CA11-6BEA-BACA2898D4F3}"/>
              </a:ext>
            </a:extLst>
          </p:cNvPr>
          <p:cNvSpPr/>
          <p:nvPr/>
        </p:nvSpPr>
        <p:spPr bwMode="gray">
          <a:xfrm>
            <a:off x="8229870" y="4711946"/>
            <a:ext cx="556771" cy="556771"/>
          </a:xfrm>
          <a:prstGeom prst="ellipse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b="0">
                <a:solidFill>
                  <a:schemeClr val="tx1"/>
                </a:solidFill>
                <a:latin typeface="Lidl Font Cond Pro" panose="02000000000000000000" pitchFamily="2" charset="0"/>
              </a:rPr>
              <a:t>…</a:t>
            </a:r>
            <a:endParaRPr lang="en-BE">
              <a:solidFill>
                <a:schemeClr val="tx1"/>
              </a:solidFill>
            </a:endParaRP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A5EF7809-3FEA-FCCA-093A-70BE6F96D9E2}"/>
              </a:ext>
            </a:extLst>
          </p:cNvPr>
          <p:cNvSpPr txBox="1"/>
          <p:nvPr/>
        </p:nvSpPr>
        <p:spPr bwMode="gray">
          <a:xfrm>
            <a:off x="8800566" y="2290802"/>
            <a:ext cx="6156960" cy="5411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nl-BE" sz="1400" b="0"/>
              <a:t>Socio-demo</a:t>
            </a:r>
          </a:p>
        </p:txBody>
      </p:sp>
      <p:sp>
        <p:nvSpPr>
          <p:cNvPr id="31" name="Tekstvak 30">
            <a:extLst>
              <a:ext uri="{FF2B5EF4-FFF2-40B4-BE49-F238E27FC236}">
                <a16:creationId xmlns:a16="http://schemas.microsoft.com/office/drawing/2014/main" id="{0BBB149F-CBFA-F6E7-6E9E-26A8C44248C1}"/>
              </a:ext>
            </a:extLst>
          </p:cNvPr>
          <p:cNvSpPr txBox="1"/>
          <p:nvPr/>
        </p:nvSpPr>
        <p:spPr bwMode="gray">
          <a:xfrm>
            <a:off x="8800566" y="3064810"/>
            <a:ext cx="7541622" cy="5411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nl-BE" sz="1400" b="0"/>
              <a:t>Contextual &amp; interests</a:t>
            </a:r>
          </a:p>
        </p:txBody>
      </p:sp>
      <p:sp>
        <p:nvSpPr>
          <p:cNvPr id="41" name="Tekstvak 40">
            <a:extLst>
              <a:ext uri="{FF2B5EF4-FFF2-40B4-BE49-F238E27FC236}">
                <a16:creationId xmlns:a16="http://schemas.microsoft.com/office/drawing/2014/main" id="{988C6CD3-0BA6-DE6A-C2A2-C697A2594A1D}"/>
              </a:ext>
            </a:extLst>
          </p:cNvPr>
          <p:cNvSpPr txBox="1"/>
          <p:nvPr/>
        </p:nvSpPr>
        <p:spPr bwMode="gray">
          <a:xfrm>
            <a:off x="8800566" y="3866185"/>
            <a:ext cx="8233954" cy="5411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nl-BE" sz="1400" b="0"/>
              <a:t>Lookalike audiences</a:t>
            </a:r>
          </a:p>
        </p:txBody>
      </p:sp>
      <p:sp>
        <p:nvSpPr>
          <p:cNvPr id="7" name="Plus 6">
            <a:extLst>
              <a:ext uri="{FF2B5EF4-FFF2-40B4-BE49-F238E27FC236}">
                <a16:creationId xmlns:a16="http://schemas.microsoft.com/office/drawing/2014/main" id="{D67866FB-C478-18FA-F46A-66D85E4F5D0C}"/>
              </a:ext>
            </a:extLst>
          </p:cNvPr>
          <p:cNvSpPr/>
          <p:nvPr/>
        </p:nvSpPr>
        <p:spPr bwMode="gray">
          <a:xfrm>
            <a:off x="3925198" y="3373509"/>
            <a:ext cx="363254" cy="379030"/>
          </a:xfrm>
          <a:prstGeom prst="mathPlus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19" name="Plus 18">
            <a:extLst>
              <a:ext uri="{FF2B5EF4-FFF2-40B4-BE49-F238E27FC236}">
                <a16:creationId xmlns:a16="http://schemas.microsoft.com/office/drawing/2014/main" id="{30CF13D8-AB4E-0A70-077D-3CB9ABCFB5F6}"/>
              </a:ext>
            </a:extLst>
          </p:cNvPr>
          <p:cNvSpPr/>
          <p:nvPr/>
        </p:nvSpPr>
        <p:spPr bwMode="gray">
          <a:xfrm>
            <a:off x="7433196" y="3382191"/>
            <a:ext cx="363254" cy="379030"/>
          </a:xfrm>
          <a:prstGeom prst="mathPlus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</a:endParaRPr>
          </a:p>
        </p:txBody>
      </p:sp>
      <p:pic>
        <p:nvPicPr>
          <p:cNvPr id="2" name="Picture 1" descr="A close-up of a logo&#10;&#10;AI-generated content may be incorrect.">
            <a:extLst>
              <a:ext uri="{FF2B5EF4-FFF2-40B4-BE49-F238E27FC236}">
                <a16:creationId xmlns:a16="http://schemas.microsoft.com/office/drawing/2014/main" id="{5142403D-1E80-776A-4F85-739B58D2225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536" y="5877668"/>
            <a:ext cx="118745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680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7">
          <a:extLst>
            <a:ext uri="{FF2B5EF4-FFF2-40B4-BE49-F238E27FC236}">
              <a16:creationId xmlns:a16="http://schemas.microsoft.com/office/drawing/2014/main" id="{703590FE-70AD-C49E-ED90-A06EF73CF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Google Shape;429;p68">
            <a:extLst>
              <a:ext uri="{FF2B5EF4-FFF2-40B4-BE49-F238E27FC236}">
                <a16:creationId xmlns:a16="http://schemas.microsoft.com/office/drawing/2014/main" id="{7538B7FD-FD47-7CFF-5843-3D90CED1028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14964" y="740776"/>
            <a:ext cx="11068404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dirty="0"/>
              <a:t>Smart dynamic banners:</a:t>
            </a:r>
            <a:br>
              <a:rPr lang="en-US" dirty="0"/>
            </a:br>
            <a:r>
              <a:rPr lang="en-US" dirty="0"/>
              <a:t>Built to react</a:t>
            </a:r>
            <a:br>
              <a:rPr lang="en-US" dirty="0"/>
            </a:br>
            <a:endParaRPr lang="en-US" sz="1200" b="0" i="1" dirty="0"/>
          </a:p>
        </p:txBody>
      </p:sp>
      <p:pic>
        <p:nvPicPr>
          <p:cNvPr id="5" name="Afbeelding 4" descr="Afbeelding met Elektrisch blauw, schermopname, tekst, Lettertype&#10;&#10;Automatisch gegenereerde beschrijving">
            <a:extLst>
              <a:ext uri="{FF2B5EF4-FFF2-40B4-BE49-F238E27FC236}">
                <a16:creationId xmlns:a16="http://schemas.microsoft.com/office/drawing/2014/main" id="{0F933C45-321D-4C8A-7546-726C6C163D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4535" y="476672"/>
            <a:ext cx="3996373" cy="1029993"/>
          </a:xfrm>
          <a:prstGeom prst="rect">
            <a:avLst/>
          </a:prstGeom>
        </p:spPr>
      </p:pic>
      <p:pic>
        <p:nvPicPr>
          <p:cNvPr id="7" name="Afbeelding 6" descr="Afbeelding met Lettertype, Graphics, logo, Elektrisch blauw&#10;&#10;Automatisch gegenereerde beschrijving">
            <a:extLst>
              <a:ext uri="{FF2B5EF4-FFF2-40B4-BE49-F238E27FC236}">
                <a16:creationId xmlns:a16="http://schemas.microsoft.com/office/drawing/2014/main" id="{76A71BF7-B21A-D45D-6E4A-70588D3CAF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4535" y="1548472"/>
            <a:ext cx="3996373" cy="1029993"/>
          </a:xfrm>
          <a:prstGeom prst="rect">
            <a:avLst/>
          </a:prstGeom>
        </p:spPr>
      </p:pic>
      <p:pic>
        <p:nvPicPr>
          <p:cNvPr id="9" name="Afbeelding 8" descr="Afbeelding met schermopname, Elektrisch blauw&#10;&#10;Automatisch gegenereerde beschrijving">
            <a:extLst>
              <a:ext uri="{FF2B5EF4-FFF2-40B4-BE49-F238E27FC236}">
                <a16:creationId xmlns:a16="http://schemas.microsoft.com/office/drawing/2014/main" id="{9197DEAF-DC06-6AEC-E1A0-9480F426F6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64535" y="4023766"/>
            <a:ext cx="3996373" cy="1029993"/>
          </a:xfrm>
          <a:prstGeom prst="rect">
            <a:avLst/>
          </a:prstGeom>
        </p:spPr>
      </p:pic>
      <p:pic>
        <p:nvPicPr>
          <p:cNvPr id="11" name="Afbeelding 10" descr="Afbeelding met schermopname, Elektrisch blauw, ijzer, apparaat&#10;&#10;Automatisch gegenereerde beschrijving">
            <a:extLst>
              <a:ext uri="{FF2B5EF4-FFF2-40B4-BE49-F238E27FC236}">
                <a16:creationId xmlns:a16="http://schemas.microsoft.com/office/drawing/2014/main" id="{97367A49-7888-7DB9-5363-BE071896C6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4535" y="2951655"/>
            <a:ext cx="3996373" cy="1029993"/>
          </a:xfrm>
          <a:prstGeom prst="rect">
            <a:avLst/>
          </a:prstGeom>
        </p:spPr>
      </p:pic>
      <p:pic>
        <p:nvPicPr>
          <p:cNvPr id="13" name="Afbeelding 12" descr="Afbeelding met gereedschap, apparaat, ijzer&#10;&#10;Automatisch gegenereerde beschrijving">
            <a:extLst>
              <a:ext uri="{FF2B5EF4-FFF2-40B4-BE49-F238E27FC236}">
                <a16:creationId xmlns:a16="http://schemas.microsoft.com/office/drawing/2014/main" id="{C2D12EE3-6460-1BB7-A340-C74986C55E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64535" y="5414792"/>
            <a:ext cx="3996373" cy="1029992"/>
          </a:xfrm>
          <a:prstGeom prst="rect">
            <a:avLst/>
          </a:prstGeom>
        </p:spPr>
      </p:pic>
      <p:cxnSp>
        <p:nvCxnSpPr>
          <p:cNvPr id="22" name="Rechte verbindingslijn 21">
            <a:extLst>
              <a:ext uri="{FF2B5EF4-FFF2-40B4-BE49-F238E27FC236}">
                <a16:creationId xmlns:a16="http://schemas.microsoft.com/office/drawing/2014/main" id="{A2D3B30E-6975-9354-AA6F-A99A2BDD7065}"/>
              </a:ext>
            </a:extLst>
          </p:cNvPr>
          <p:cNvCxnSpPr/>
          <p:nvPr/>
        </p:nvCxnSpPr>
        <p:spPr bwMode="gray">
          <a:xfrm>
            <a:off x="6002362" y="2771275"/>
            <a:ext cx="4998720" cy="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chte verbindingslijn 22">
            <a:extLst>
              <a:ext uri="{FF2B5EF4-FFF2-40B4-BE49-F238E27FC236}">
                <a16:creationId xmlns:a16="http://schemas.microsoft.com/office/drawing/2014/main" id="{9B7C409F-0631-59C4-4469-B1ADA4FA5CEE}"/>
              </a:ext>
            </a:extLst>
          </p:cNvPr>
          <p:cNvCxnSpPr/>
          <p:nvPr/>
        </p:nvCxnSpPr>
        <p:spPr bwMode="gray">
          <a:xfrm>
            <a:off x="6002362" y="5214029"/>
            <a:ext cx="4998720" cy="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5C694C8D-9368-6D5E-E09E-3BCD26766426}"/>
              </a:ext>
            </a:extLst>
          </p:cNvPr>
          <p:cNvSpPr txBox="1"/>
          <p:nvPr/>
        </p:nvSpPr>
        <p:spPr bwMode="gray">
          <a:xfrm>
            <a:off x="509047" y="218701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92B80D-6DFE-129E-F8CC-2B4C166A8454}"/>
              </a:ext>
            </a:extLst>
          </p:cNvPr>
          <p:cNvSpPr txBox="1"/>
          <p:nvPr/>
        </p:nvSpPr>
        <p:spPr bwMode="gray">
          <a:xfrm>
            <a:off x="810705" y="3091991"/>
            <a:ext cx="4534293" cy="28374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dirty="0"/>
              <a:t>Dynamic product selection, powered by data:</a:t>
            </a:r>
          </a:p>
          <a:p>
            <a:pPr marL="342900" indent="-342900">
              <a:buFont typeface="+mj-lt"/>
              <a:buAutoNum type="arabicPeriod"/>
            </a:pPr>
            <a:r>
              <a:rPr lang="en-GB" b="0" dirty="0"/>
              <a:t>weekly promo inventory</a:t>
            </a:r>
          </a:p>
          <a:p>
            <a:pPr marL="342900" indent="-342900">
              <a:buFont typeface="+mj-lt"/>
              <a:buAutoNum type="arabicPeriod"/>
            </a:pPr>
            <a:r>
              <a:rPr lang="en-GB" b="0" dirty="0"/>
              <a:t>external OOS signals</a:t>
            </a:r>
          </a:p>
          <a:p>
            <a:pPr marL="342900" indent="-342900">
              <a:buFont typeface="+mj-lt"/>
              <a:buAutoNum type="arabicPeriod"/>
            </a:pPr>
            <a:r>
              <a:rPr lang="en-GB" b="0" dirty="0"/>
              <a:t>user engagement trends</a:t>
            </a:r>
          </a:p>
          <a:p>
            <a:pPr marL="342900" indent="-342900">
              <a:buFont typeface="+mj-lt"/>
              <a:buAutoNum type="arabicPeriod"/>
            </a:pPr>
            <a:r>
              <a:rPr lang="en-GB" b="0" dirty="0"/>
              <a:t>format-smart product fit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</p:txBody>
      </p:sp>
      <p:pic>
        <p:nvPicPr>
          <p:cNvPr id="3" name="Picture 2" descr="A close-up of a logo&#10;&#10;AI-generated content may be incorrect.">
            <a:extLst>
              <a:ext uri="{FF2B5EF4-FFF2-40B4-BE49-F238E27FC236}">
                <a16:creationId xmlns:a16="http://schemas.microsoft.com/office/drawing/2014/main" id="{5327AEAA-6A79-830F-C4B8-4750548BFB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536" y="5877668"/>
            <a:ext cx="118745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970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7">
          <a:extLst>
            <a:ext uri="{FF2B5EF4-FFF2-40B4-BE49-F238E27FC236}">
              <a16:creationId xmlns:a16="http://schemas.microsoft.com/office/drawing/2014/main" id="{09AA1D2B-B7C3-7653-1EC3-0405F420C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Google Shape;429;p68">
            <a:extLst>
              <a:ext uri="{FF2B5EF4-FFF2-40B4-BE49-F238E27FC236}">
                <a16:creationId xmlns:a16="http://schemas.microsoft.com/office/drawing/2014/main" id="{B9AB6A32-3ACC-E500-772D-5551B9637F2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14964" y="740776"/>
            <a:ext cx="11068404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dirty="0"/>
              <a:t>Smart dynamic banners:</a:t>
            </a:r>
            <a:br>
              <a:rPr lang="en-US" dirty="0"/>
            </a:br>
            <a:r>
              <a:rPr lang="en-US" dirty="0"/>
              <a:t>Built to react</a:t>
            </a:r>
            <a:br>
              <a:rPr lang="en-US" dirty="0"/>
            </a:br>
            <a:endParaRPr lang="en-US" sz="1200" b="0" i="1" dirty="0"/>
          </a:p>
        </p:txBody>
      </p:sp>
      <p:pic>
        <p:nvPicPr>
          <p:cNvPr id="4" name="Afbeelding 3" descr="Afbeelding met tekst, logo, schermopname, Elektrisch blauw&#10;&#10;Automatisch gegenereerde beschrijving">
            <a:extLst>
              <a:ext uri="{FF2B5EF4-FFF2-40B4-BE49-F238E27FC236}">
                <a16:creationId xmlns:a16="http://schemas.microsoft.com/office/drawing/2014/main" id="{1D8A055E-9B54-738D-445E-26FDC8515E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2233" y="1779446"/>
            <a:ext cx="1046190" cy="3923211"/>
          </a:xfrm>
          <a:prstGeom prst="rect">
            <a:avLst/>
          </a:prstGeom>
        </p:spPr>
      </p:pic>
      <p:pic>
        <p:nvPicPr>
          <p:cNvPr id="8" name="Afbeelding 7" descr="Afbeelding met tekst, poster, schermopname, pogostick&#10;&#10;Automatisch gegenereerde beschrijving">
            <a:extLst>
              <a:ext uri="{FF2B5EF4-FFF2-40B4-BE49-F238E27FC236}">
                <a16:creationId xmlns:a16="http://schemas.microsoft.com/office/drawing/2014/main" id="{BB408E46-765A-845B-AF72-2175881F3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62883" y="1779446"/>
            <a:ext cx="1046190" cy="3923211"/>
          </a:xfrm>
          <a:prstGeom prst="rect">
            <a:avLst/>
          </a:prstGeom>
        </p:spPr>
      </p:pic>
      <p:pic>
        <p:nvPicPr>
          <p:cNvPr id="12" name="Afbeelding 11" descr="Afbeelding met tekst, vacuüm, apparaat&#10;&#10;Automatisch gegenereerde beschrijving">
            <a:extLst>
              <a:ext uri="{FF2B5EF4-FFF2-40B4-BE49-F238E27FC236}">
                <a16:creationId xmlns:a16="http://schemas.microsoft.com/office/drawing/2014/main" id="{B7E2CDCC-816C-58B8-2DE2-B66F45D356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70615" y="1779447"/>
            <a:ext cx="1046191" cy="3923218"/>
          </a:xfrm>
          <a:prstGeom prst="rect">
            <a:avLst/>
          </a:prstGeom>
        </p:spPr>
      </p:pic>
      <p:pic>
        <p:nvPicPr>
          <p:cNvPr id="16" name="Afbeelding 15" descr="Afbeelding met tekst, vacuüm, apparaat&#10;&#10;Automatisch gegenereerde beschrijving">
            <a:extLst>
              <a:ext uri="{FF2B5EF4-FFF2-40B4-BE49-F238E27FC236}">
                <a16:creationId xmlns:a16="http://schemas.microsoft.com/office/drawing/2014/main" id="{B3344C21-1E45-D14F-8071-5FB2D8FFB5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46231" y="1779439"/>
            <a:ext cx="1046189" cy="3923211"/>
          </a:xfrm>
          <a:prstGeom prst="rect">
            <a:avLst/>
          </a:prstGeom>
        </p:spPr>
      </p:pic>
      <p:cxnSp>
        <p:nvCxnSpPr>
          <p:cNvPr id="19" name="Rechte verbindingslijn 18">
            <a:extLst>
              <a:ext uri="{FF2B5EF4-FFF2-40B4-BE49-F238E27FC236}">
                <a16:creationId xmlns:a16="http://schemas.microsoft.com/office/drawing/2014/main" id="{3F9260EA-8CB1-26B6-E6C4-281969BB18D1}"/>
              </a:ext>
            </a:extLst>
          </p:cNvPr>
          <p:cNvCxnSpPr>
            <a:cxnSpLocks/>
          </p:cNvCxnSpPr>
          <p:nvPr/>
        </p:nvCxnSpPr>
        <p:spPr bwMode="gray">
          <a:xfrm>
            <a:off x="5033555" y="1619795"/>
            <a:ext cx="0" cy="4267199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chte verbindingslijn 27">
            <a:extLst>
              <a:ext uri="{FF2B5EF4-FFF2-40B4-BE49-F238E27FC236}">
                <a16:creationId xmlns:a16="http://schemas.microsoft.com/office/drawing/2014/main" id="{EE9C7431-9CB2-08C7-8453-68320E50716E}"/>
              </a:ext>
            </a:extLst>
          </p:cNvPr>
          <p:cNvCxnSpPr>
            <a:cxnSpLocks/>
          </p:cNvCxnSpPr>
          <p:nvPr/>
        </p:nvCxnSpPr>
        <p:spPr bwMode="gray">
          <a:xfrm>
            <a:off x="7615646" y="1619795"/>
            <a:ext cx="0" cy="4267199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kstvak 31">
            <a:extLst>
              <a:ext uri="{FF2B5EF4-FFF2-40B4-BE49-F238E27FC236}">
                <a16:creationId xmlns:a16="http://schemas.microsoft.com/office/drawing/2014/main" id="{B43DBEA4-59F2-44A5-140E-CB10851ECCED}"/>
              </a:ext>
            </a:extLst>
          </p:cNvPr>
          <p:cNvSpPr txBox="1"/>
          <p:nvPr/>
        </p:nvSpPr>
        <p:spPr bwMode="gray">
          <a:xfrm>
            <a:off x="2393418" y="3429000"/>
            <a:ext cx="1228937" cy="4993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nl-BE" sz="1000" b="1" dirty="0"/>
              <a:t>Attention grabbing</a:t>
            </a:r>
          </a:p>
          <a:p>
            <a:pPr algn="r"/>
            <a:r>
              <a:rPr lang="nl-BE" sz="1000" b="1" dirty="0"/>
              <a:t>first screen</a:t>
            </a:r>
            <a:endParaRPr lang="nl-BE" sz="1000" dirty="0"/>
          </a:p>
        </p:txBody>
      </p:sp>
      <p:sp>
        <p:nvSpPr>
          <p:cNvPr id="33" name="Tekstvak 32">
            <a:extLst>
              <a:ext uri="{FF2B5EF4-FFF2-40B4-BE49-F238E27FC236}">
                <a16:creationId xmlns:a16="http://schemas.microsoft.com/office/drawing/2014/main" id="{4F29974C-8028-8563-9B12-B2E4A33B1751}"/>
              </a:ext>
            </a:extLst>
          </p:cNvPr>
          <p:cNvSpPr txBox="1"/>
          <p:nvPr/>
        </p:nvSpPr>
        <p:spPr bwMode="gray">
          <a:xfrm>
            <a:off x="8951861" y="3487906"/>
            <a:ext cx="1693442" cy="2531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000" b="1" dirty="0"/>
              <a:t>Going out with a bang</a:t>
            </a:r>
            <a:endParaRPr lang="nl-BE" sz="1000" dirty="0"/>
          </a:p>
        </p:txBody>
      </p:sp>
      <p:sp>
        <p:nvSpPr>
          <p:cNvPr id="34" name="Tekstvak 33">
            <a:extLst>
              <a:ext uri="{FF2B5EF4-FFF2-40B4-BE49-F238E27FC236}">
                <a16:creationId xmlns:a16="http://schemas.microsoft.com/office/drawing/2014/main" id="{43F7FB1D-D7EC-5149-26FF-0D0C977EA3BC}"/>
              </a:ext>
            </a:extLst>
          </p:cNvPr>
          <p:cNvSpPr txBox="1"/>
          <p:nvPr/>
        </p:nvSpPr>
        <p:spPr bwMode="gray">
          <a:xfrm>
            <a:off x="5262883" y="1100961"/>
            <a:ext cx="6156960" cy="2531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000" b="1" dirty="0"/>
              <a:t>Efficient use of space</a:t>
            </a:r>
            <a:endParaRPr lang="nl-BE" sz="1000" dirty="0"/>
          </a:p>
        </p:txBody>
      </p:sp>
      <p:sp>
        <p:nvSpPr>
          <p:cNvPr id="35" name="Tekstvak 34">
            <a:extLst>
              <a:ext uri="{FF2B5EF4-FFF2-40B4-BE49-F238E27FC236}">
                <a16:creationId xmlns:a16="http://schemas.microsoft.com/office/drawing/2014/main" id="{27DF71E1-5A44-0EF0-2DF1-821F54D009FE}"/>
              </a:ext>
            </a:extLst>
          </p:cNvPr>
          <p:cNvSpPr txBox="1"/>
          <p:nvPr/>
        </p:nvSpPr>
        <p:spPr bwMode="gray">
          <a:xfrm>
            <a:off x="5262883" y="1343168"/>
            <a:ext cx="8159930" cy="2531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sz="1000" b="1" dirty="0"/>
              <a:t>Format-specific optimization</a:t>
            </a:r>
            <a:endParaRPr lang="nl-BE" sz="1000" dirty="0"/>
          </a:p>
        </p:txBody>
      </p:sp>
      <p:pic>
        <p:nvPicPr>
          <p:cNvPr id="2" name="Picture 1" descr="A close-up of a logo&#10;&#10;AI-generated content may be incorrect.">
            <a:extLst>
              <a:ext uri="{FF2B5EF4-FFF2-40B4-BE49-F238E27FC236}">
                <a16:creationId xmlns:a16="http://schemas.microsoft.com/office/drawing/2014/main" id="{B25E7707-58F7-4C57-EEBD-E9A7D5E9D8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536" y="5877668"/>
            <a:ext cx="118745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8295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7">
          <a:extLst>
            <a:ext uri="{FF2B5EF4-FFF2-40B4-BE49-F238E27FC236}">
              <a16:creationId xmlns:a16="http://schemas.microsoft.com/office/drawing/2014/main" id="{31CD39AA-195A-5377-C2E5-D527B08159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Google Shape;429;p68">
            <a:extLst>
              <a:ext uri="{FF2B5EF4-FFF2-40B4-BE49-F238E27FC236}">
                <a16:creationId xmlns:a16="http://schemas.microsoft.com/office/drawing/2014/main" id="{D3B3DEC1-7ED3-C50D-DDAA-49F815D0E06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14964" y="740776"/>
            <a:ext cx="11068404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dirty="0"/>
              <a:t>Smart dynamic banners:</a:t>
            </a:r>
            <a:br>
              <a:rPr lang="en-US" dirty="0"/>
            </a:br>
            <a:r>
              <a:rPr lang="en-US" dirty="0"/>
              <a:t>Built to react</a:t>
            </a:r>
            <a:br>
              <a:rPr lang="en-US" dirty="0"/>
            </a:br>
            <a:endParaRPr lang="en-US" sz="1200" b="0" i="1" dirty="0"/>
          </a:p>
        </p:txBody>
      </p:sp>
      <p:pic>
        <p:nvPicPr>
          <p:cNvPr id="2" name="Picture 1" descr="A close-up of a logo&#10;&#10;AI-generated content may be incorrect.">
            <a:extLst>
              <a:ext uri="{FF2B5EF4-FFF2-40B4-BE49-F238E27FC236}">
                <a16:creationId xmlns:a16="http://schemas.microsoft.com/office/drawing/2014/main" id="{15CC2B9E-55ED-B84E-971A-75B4C3286A4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536" y="5877668"/>
            <a:ext cx="1187450" cy="647700"/>
          </a:xfrm>
          <a:prstGeom prst="rect">
            <a:avLst/>
          </a:prstGeom>
        </p:spPr>
      </p:pic>
      <p:pic>
        <p:nvPicPr>
          <p:cNvPr id="3" name="animAd-300x600-NL  blue">
            <a:hlinkClick r:id="" action="ppaction://media"/>
            <a:extLst>
              <a:ext uri="{FF2B5EF4-FFF2-40B4-BE49-F238E27FC236}">
                <a16:creationId xmlns:a16="http://schemas.microsoft.com/office/drawing/2014/main" id="{23E88790-68CD-F984-9128-6F359272DC5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087663" y="2127073"/>
            <a:ext cx="2307771" cy="4615541"/>
          </a:xfrm>
          <a:prstGeom prst="rect">
            <a:avLst/>
          </a:prstGeom>
        </p:spPr>
      </p:pic>
      <p:pic>
        <p:nvPicPr>
          <p:cNvPr id="5" name="animAd-970x250-NL blue">
            <a:hlinkClick r:id="" action="ppaction://media"/>
            <a:extLst>
              <a:ext uri="{FF2B5EF4-FFF2-40B4-BE49-F238E27FC236}">
                <a16:creationId xmlns:a16="http://schemas.microsoft.com/office/drawing/2014/main" id="{A336B5C0-ED66-ADE6-C760-8140F3083A45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3867866" y="2127073"/>
            <a:ext cx="7915502" cy="203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798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0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300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C6A8E7-EA04-36CA-0993-C3D8C54BAD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33EAA0-64AF-2C5C-F7E9-57F2484B9B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B69AB2-EEA9-6B86-91F0-DE98569B7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745A6C-FDAD-9201-9DA5-D32BBAE738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489357C-04B0-1248-B581-F1C53CEE3B9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r>
              <a:rPr lang="de-DE"/>
              <a:t>XX </a:t>
            </a:r>
            <a:r>
              <a:rPr lang="de-DE" err="1"/>
              <a:t>maand</a:t>
            </a:r>
            <a:r>
              <a:rPr lang="de-DE"/>
              <a:t> 202X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0C44E5-0649-482B-AC2F-EC3A5C7DA52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491CA8-90F1-2761-72E7-5B2B1B112DC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12B600-8591-0294-7C51-058FCC97FF44}"/>
              </a:ext>
            </a:extLst>
          </p:cNvPr>
          <p:cNvSpPr/>
          <p:nvPr/>
        </p:nvSpPr>
        <p:spPr bwMode="gray">
          <a:xfrm>
            <a:off x="2927350" y="7810942"/>
            <a:ext cx="7256912" cy="3729112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676275" indent="-317500">
              <a:buAutoNum type="arabicPeriod"/>
            </a:pPr>
            <a:r>
              <a:rPr lang="en-GB" err="1">
                <a:solidFill>
                  <a:schemeClr val="bg1"/>
                </a:solidFill>
              </a:rPr>
              <a:t>Verhogen</a:t>
            </a:r>
            <a:r>
              <a:rPr lang="en-GB">
                <a:solidFill>
                  <a:schemeClr val="bg1"/>
                </a:solidFill>
              </a:rPr>
              <a:t> </a:t>
            </a:r>
            <a:r>
              <a:rPr lang="en-GB" err="1">
                <a:solidFill>
                  <a:schemeClr val="bg1"/>
                </a:solidFill>
              </a:rPr>
              <a:t>penetratie</a:t>
            </a:r>
            <a:r>
              <a:rPr lang="en-GB">
                <a:solidFill>
                  <a:schemeClr val="bg1"/>
                </a:solidFill>
              </a:rPr>
              <a:t> </a:t>
            </a:r>
            <a:endParaRPr lang="en-US">
              <a:solidFill>
                <a:schemeClr val="bg1"/>
              </a:solidFill>
            </a:endParaRPr>
          </a:p>
          <a:p>
            <a:pPr marL="758825" lvl="2" indent="-179388">
              <a:buFont typeface="Courier New"/>
              <a:buChar char="o"/>
            </a:pPr>
            <a:r>
              <a:rPr lang="en-GB">
                <a:solidFill>
                  <a:schemeClr val="bg1"/>
                </a:solidFill>
              </a:rPr>
              <a:t>Brand equity (</a:t>
            </a:r>
            <a:r>
              <a:rPr lang="en-GB" err="1">
                <a:solidFill>
                  <a:schemeClr val="bg1"/>
                </a:solidFill>
              </a:rPr>
              <a:t>geen</a:t>
            </a:r>
            <a:r>
              <a:rPr lang="en-GB">
                <a:solidFill>
                  <a:schemeClr val="bg1"/>
                </a:solidFill>
              </a:rPr>
              <a:t> scope)</a:t>
            </a:r>
          </a:p>
          <a:p>
            <a:pPr marL="676275" indent="-317500">
              <a:buAutoNum type="arabicPeriod"/>
            </a:pPr>
            <a:r>
              <a:rPr lang="en-GB" err="1">
                <a:solidFill>
                  <a:schemeClr val="bg1"/>
                </a:solidFill>
              </a:rPr>
              <a:t>Verlagen</a:t>
            </a:r>
            <a:r>
              <a:rPr lang="en-GB">
                <a:solidFill>
                  <a:schemeClr val="bg1"/>
                </a:solidFill>
              </a:rPr>
              <a:t> </a:t>
            </a:r>
            <a:r>
              <a:rPr lang="en-GB" err="1">
                <a:solidFill>
                  <a:schemeClr val="bg1"/>
                </a:solidFill>
              </a:rPr>
              <a:t>koopbarrières</a:t>
            </a:r>
            <a:r>
              <a:rPr lang="en-GB">
                <a:solidFill>
                  <a:schemeClr val="bg1"/>
                </a:solidFill>
              </a:rPr>
              <a:t> </a:t>
            </a:r>
          </a:p>
          <a:p>
            <a:pPr marL="800100" lvl="2" indent="-220663">
              <a:buFont typeface="Courier New"/>
              <a:buChar char="o"/>
            </a:pPr>
            <a:r>
              <a:rPr lang="en-GB" b="1" err="1">
                <a:solidFill>
                  <a:schemeClr val="bg1"/>
                </a:solidFill>
              </a:rPr>
              <a:t>Commerciële</a:t>
            </a:r>
            <a:r>
              <a:rPr lang="en-GB" b="1">
                <a:solidFill>
                  <a:schemeClr val="bg1"/>
                </a:solidFill>
              </a:rPr>
              <a:t> </a:t>
            </a:r>
            <a:r>
              <a:rPr lang="en-GB" b="1" err="1">
                <a:solidFill>
                  <a:schemeClr val="bg1"/>
                </a:solidFill>
              </a:rPr>
              <a:t>campagne</a:t>
            </a:r>
            <a:r>
              <a:rPr lang="en-GB" b="1">
                <a:solidFill>
                  <a:schemeClr val="bg1"/>
                </a:solidFill>
              </a:rPr>
              <a:t> (</a:t>
            </a:r>
            <a:r>
              <a:rPr lang="en-GB" b="1" err="1">
                <a:solidFill>
                  <a:schemeClr val="bg1"/>
                </a:solidFill>
              </a:rPr>
              <a:t>tuin</a:t>
            </a:r>
            <a:r>
              <a:rPr lang="en-GB" b="1">
                <a:solidFill>
                  <a:schemeClr val="bg1"/>
                </a:solidFill>
              </a:rPr>
              <a:t>)</a:t>
            </a:r>
          </a:p>
          <a:p>
            <a:pPr marL="800100" lvl="2" indent="-220663">
              <a:buFont typeface="Courier New"/>
              <a:buChar char="o"/>
            </a:pPr>
            <a:r>
              <a:rPr lang="en-GB" b="1" err="1">
                <a:solidFill>
                  <a:schemeClr val="bg1"/>
                </a:solidFill>
              </a:rPr>
              <a:t>Webshop</a:t>
            </a:r>
            <a:r>
              <a:rPr lang="en-GB" b="1">
                <a:solidFill>
                  <a:schemeClr val="bg1"/>
                </a:solidFill>
              </a:rPr>
              <a:t> consideration </a:t>
            </a:r>
            <a:r>
              <a:rPr lang="en-GB" b="1" err="1">
                <a:solidFill>
                  <a:schemeClr val="bg1"/>
                </a:solidFill>
              </a:rPr>
              <a:t>campagne</a:t>
            </a:r>
            <a:endParaRPr lang="en-GB" b="1">
              <a:solidFill>
                <a:schemeClr val="bg1"/>
              </a:solidFill>
            </a:endParaRPr>
          </a:p>
          <a:p>
            <a:pPr marL="635000" indent="-276225">
              <a:buAutoNum type="arabicPeriod"/>
            </a:pPr>
            <a:r>
              <a:rPr lang="en-GB" err="1">
                <a:solidFill>
                  <a:schemeClr val="bg1"/>
                </a:solidFill>
              </a:rPr>
              <a:t>Verbeteren</a:t>
            </a:r>
            <a:r>
              <a:rPr lang="en-GB">
                <a:solidFill>
                  <a:schemeClr val="bg1"/>
                </a:solidFill>
              </a:rPr>
              <a:t> </a:t>
            </a:r>
            <a:r>
              <a:rPr lang="en-GB" err="1">
                <a:solidFill>
                  <a:schemeClr val="bg1"/>
                </a:solidFill>
              </a:rPr>
              <a:t>prijsperceptie</a:t>
            </a:r>
            <a:r>
              <a:rPr lang="en-GB">
                <a:solidFill>
                  <a:schemeClr val="bg1"/>
                </a:solidFill>
              </a:rPr>
              <a:t> &amp; drive to store</a:t>
            </a:r>
          </a:p>
          <a:p>
            <a:pPr marL="800100" lvl="2" indent="-220663">
              <a:buFont typeface="Courier New"/>
              <a:buChar char="o"/>
            </a:pPr>
            <a:r>
              <a:rPr lang="en-GB" b="1">
                <a:solidFill>
                  <a:schemeClr val="bg1"/>
                </a:solidFill>
                <a:ea typeface="+mn-lt"/>
                <a:cs typeface="+mn-lt"/>
              </a:rPr>
              <a:t>Food &amp; Non-Food promo </a:t>
            </a:r>
          </a:p>
          <a:p>
            <a:pPr marL="800100" lvl="2" indent="-220663">
              <a:buFont typeface="Courier New"/>
              <a:buChar char="o"/>
            </a:pPr>
            <a:r>
              <a:rPr lang="en-GB" b="1">
                <a:solidFill>
                  <a:schemeClr val="bg1"/>
                </a:solidFill>
              </a:rPr>
              <a:t>Lidl Plus</a:t>
            </a:r>
          </a:p>
          <a:p>
            <a:pPr marL="800100" lvl="2" indent="-220663">
              <a:buFont typeface="Courier New"/>
              <a:buChar char="o"/>
            </a:pPr>
            <a:r>
              <a:rPr lang="en-GB" b="1" err="1">
                <a:solidFill>
                  <a:schemeClr val="bg1"/>
                </a:solidFill>
              </a:rPr>
              <a:t>Winkelopeningen</a:t>
            </a:r>
            <a:endParaRPr lang="en-GB" b="1">
              <a:solidFill>
                <a:schemeClr val="bg1"/>
              </a:solidFill>
            </a:endParaRPr>
          </a:p>
          <a:p>
            <a:pPr marL="800100" lvl="2" indent="-220663">
              <a:buFont typeface="Courier New"/>
              <a:buChar char="o"/>
            </a:pPr>
            <a:r>
              <a:rPr lang="en-GB" b="1">
                <a:solidFill>
                  <a:schemeClr val="bg1"/>
                </a:solidFill>
              </a:rPr>
              <a:t>Folder </a:t>
            </a:r>
            <a:r>
              <a:rPr lang="en-GB" b="1" err="1">
                <a:solidFill>
                  <a:schemeClr val="bg1"/>
                </a:solidFill>
              </a:rPr>
              <a:t>afschakeling</a:t>
            </a:r>
            <a:endParaRPr lang="en-GB" b="1">
              <a:solidFill>
                <a:schemeClr val="bg1"/>
              </a:solidFill>
            </a:endParaRPr>
          </a:p>
        </p:txBody>
      </p:sp>
      <p:pic>
        <p:nvPicPr>
          <p:cNvPr id="9" name="Picture 8" descr="A close-up of a logo&#10;&#10;AI-generated content may be incorrect.">
            <a:extLst>
              <a:ext uri="{FF2B5EF4-FFF2-40B4-BE49-F238E27FC236}">
                <a16:creationId xmlns:a16="http://schemas.microsoft.com/office/drawing/2014/main" id="{B766903D-2283-EAE8-F876-FE4A51E768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536" y="5877668"/>
            <a:ext cx="1187450" cy="647700"/>
          </a:xfrm>
          <a:prstGeom prst="rect">
            <a:avLst/>
          </a:prstGeom>
        </p:spPr>
      </p:pic>
      <p:pic>
        <p:nvPicPr>
          <p:cNvPr id="10" name="23 - LidlxAMMA-25-Best_Use-of-Data">
            <a:hlinkClick r:id="" action="ppaction://media"/>
            <a:extLst>
              <a:ext uri="{FF2B5EF4-FFF2-40B4-BE49-F238E27FC236}">
                <a16:creationId xmlns:a16="http://schemas.microsoft.com/office/drawing/2014/main" id="{3843BB51-7623-52CD-E147-A52B06FF133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27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37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  <p:tag name="DEFAULTLANGUAGEID" val="1031"/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dl Master">
  <a:themeElements>
    <a:clrScheme name="Lidl">
      <a:dk1>
        <a:srgbClr val="0050AA"/>
      </a:dk1>
      <a:lt1>
        <a:sysClr val="window" lastClr="FFFFFF"/>
      </a:lt1>
      <a:dk2>
        <a:srgbClr val="E60A14"/>
      </a:dk2>
      <a:lt2>
        <a:srgbClr val="FFF000"/>
      </a:lt2>
      <a:accent1>
        <a:srgbClr val="E4B900"/>
      </a:accent1>
      <a:accent2>
        <a:srgbClr val="CA144B"/>
      </a:accent2>
      <a:accent3>
        <a:srgbClr val="63AF89"/>
      </a:accent3>
      <a:accent4>
        <a:srgbClr val="3C83A2"/>
      </a:accent4>
      <a:accent5>
        <a:srgbClr val="D8671B"/>
      </a:accent5>
      <a:accent6>
        <a:srgbClr val="6F9D2D"/>
      </a:accent6>
      <a:hlink>
        <a:srgbClr val="0050AA"/>
      </a:hlink>
      <a:folHlink>
        <a:srgbClr val="0050AA"/>
      </a:folHlink>
    </a:clrScheme>
    <a:fontScheme name="Lidl">
      <a:majorFont>
        <a:latin typeface="Lidl Font Pro"/>
        <a:ea typeface=""/>
        <a:cs typeface=""/>
      </a:majorFont>
      <a:minorFont>
        <a:latin typeface="Lidl Fo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gradFill>
          <a:gsLst>
            <a:gs pos="0">
              <a:srgbClr val="006FB9"/>
            </a:gs>
            <a:gs pos="60000">
              <a:srgbClr val="0050AA"/>
            </a:gs>
            <a:gs pos="100000">
              <a:srgbClr val="003565"/>
            </a:gs>
          </a:gsLst>
          <a:lin ang="0" scaled="0"/>
        </a:gradFill>
        <a:ln w="6350">
          <a:noFill/>
        </a:ln>
      </a:spPr>
      <a:bodyPr rtlCol="0" anchor="ctr"/>
      <a:lstStyle>
        <a:defPPr algn="ctr">
          <a:defRPr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/>
    </a:txDef>
  </a:objectDefaults>
  <a:extraClrSchemeLst/>
  <a:custClrLst>
    <a:custClr name="Blau-Verlauf 1">
      <a:srgbClr val="003565"/>
    </a:custClr>
    <a:custClr name="Rot-Verlauf 1">
      <a:srgbClr val="730F05"/>
    </a:custClr>
    <a:custClr name="Gelb-Verlauf 1">
      <a:srgbClr val="FFA000"/>
    </a:custClr>
    <a:custClr>
      <a:srgbClr val="FFFFFF"/>
    </a:custClr>
    <a:custClr name="Diagrammfarbe 1 | 50%">
      <a:srgbClr val="F3DB96"/>
    </a:custClr>
    <a:custClr name="Diagrammfarbe 2 | 50%">
      <a:srgbClr val="E5979C"/>
    </a:custClr>
    <a:custClr name="Diagrammfarbe 3 | 50%">
      <a:srgbClr val="BBD7C4"/>
    </a:custClr>
    <a:custClr name="Diagrammfarbe 4 | 50%">
      <a:srgbClr val="A7BCCF"/>
    </a:custClr>
    <a:custClr name="Diagrammfarbe 5 | 50%">
      <a:srgbClr val="EDB689"/>
    </a:custClr>
    <a:custClr name="Diagrammfarbe 6 | 50%">
      <a:srgbClr val="BDCC95"/>
    </a:custClr>
    <a:custClr name="Blau-Verlauf 2">
      <a:srgbClr val="0050AA"/>
    </a:custClr>
    <a:custClr name="Rot-Verlauf 2">
      <a:srgbClr val="E60A14"/>
    </a:custClr>
    <a:custClr name="Gelb-Verlauf 2">
      <a:srgbClr val="FFF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8A8197"/>
    </a:custClr>
    <a:custClr>
      <a:srgbClr val="000000"/>
    </a:custClr>
    <a:custClr name="Blau-Verlauf 3">
      <a:srgbClr val="006FB9"/>
    </a:custClr>
    <a:custClr name="Rot-Verlauf 3">
      <a:srgbClr val="E63C14"/>
    </a:custClr>
    <a:custClr name="Gelb-Verlauf 3">
      <a:srgbClr val="FFF05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Masterslide_NL" id="{60603B07-1288-4F4B-B149-9612C11A3FA0}" vid="{C8AF6B77-ED04-4792-ABF7-F4361FC3D766}"/>
    </a:ext>
  </a:extLst>
</a:theme>
</file>

<file path=ppt/theme/theme2.xml><?xml version="1.0" encoding="utf-8"?>
<a:theme xmlns:a="http://schemas.openxmlformats.org/drawingml/2006/main" name="Brand-BBDO">
  <a:themeElements>
    <a:clrScheme name="Lidl">
      <a:dk1>
        <a:srgbClr val="0050AA"/>
      </a:dk1>
      <a:lt1>
        <a:sysClr val="window" lastClr="FFFFFF"/>
      </a:lt1>
      <a:dk2>
        <a:srgbClr val="E60A14"/>
      </a:dk2>
      <a:lt2>
        <a:srgbClr val="FFF000"/>
      </a:lt2>
      <a:accent1>
        <a:srgbClr val="E4B900"/>
      </a:accent1>
      <a:accent2>
        <a:srgbClr val="CA144B"/>
      </a:accent2>
      <a:accent3>
        <a:srgbClr val="63AF89"/>
      </a:accent3>
      <a:accent4>
        <a:srgbClr val="3C83A2"/>
      </a:accent4>
      <a:accent5>
        <a:srgbClr val="D8671B"/>
      </a:accent5>
      <a:accent6>
        <a:srgbClr val="6F9D2D"/>
      </a:accent6>
      <a:hlink>
        <a:srgbClr val="0050AA"/>
      </a:hlink>
      <a:folHlink>
        <a:srgbClr val="0050AA"/>
      </a:folHlink>
    </a:clrScheme>
    <a:fontScheme name="Lidl">
      <a:majorFont>
        <a:latin typeface="Lidl Font Pro"/>
        <a:ea typeface=""/>
        <a:cs typeface=""/>
      </a:majorFont>
      <a:minorFont>
        <a:latin typeface="Lidl Fo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gradFill>
          <a:gsLst>
            <a:gs pos="0">
              <a:srgbClr val="006FB9"/>
            </a:gs>
            <a:gs pos="60000">
              <a:srgbClr val="0050AA"/>
            </a:gs>
            <a:gs pos="100000">
              <a:srgbClr val="003565"/>
            </a:gs>
          </a:gsLst>
          <a:lin ang="0" scaled="0"/>
        </a:gradFill>
        <a:ln w="6350">
          <a:noFill/>
        </a:ln>
      </a:spPr>
      <a:bodyPr rtlCol="0" anchor="ctr"/>
      <a:lstStyle>
        <a:defPPr algn="ctr">
          <a:defRPr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/>
    </a:txDef>
  </a:objectDefaults>
  <a:extraClrSchemeLst/>
  <a:custClrLst>
    <a:custClr name="Blau-Verlauf 1">
      <a:srgbClr val="003565"/>
    </a:custClr>
    <a:custClr name="Rot-Verlauf 1">
      <a:srgbClr val="730F05"/>
    </a:custClr>
    <a:custClr name="Gelb-Verlauf 1">
      <a:srgbClr val="FFA000"/>
    </a:custClr>
    <a:custClr>
      <a:srgbClr val="FFFFFF"/>
    </a:custClr>
    <a:custClr name="Diagrammfarbe 1 | 50%">
      <a:srgbClr val="F3DB96"/>
    </a:custClr>
    <a:custClr name="Diagrammfarbe 2 | 50%">
      <a:srgbClr val="E5979C"/>
    </a:custClr>
    <a:custClr name="Diagrammfarbe 3 | 50%">
      <a:srgbClr val="BBD7C4"/>
    </a:custClr>
    <a:custClr name="Diagrammfarbe 4 | 50%">
      <a:srgbClr val="A7BCCF"/>
    </a:custClr>
    <a:custClr name="Diagrammfarbe 5 | 50%">
      <a:srgbClr val="EDB689"/>
    </a:custClr>
    <a:custClr name="Diagrammfarbe 6 | 50%">
      <a:srgbClr val="BDCC95"/>
    </a:custClr>
    <a:custClr name="Blau-Verlauf 2">
      <a:srgbClr val="0050AA"/>
    </a:custClr>
    <a:custClr name="Rot-Verlauf 2">
      <a:srgbClr val="E60A14"/>
    </a:custClr>
    <a:custClr name="Gelb-Verlauf 2">
      <a:srgbClr val="FFF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8A8197"/>
    </a:custClr>
    <a:custClr>
      <a:srgbClr val="000000"/>
    </a:custClr>
    <a:custClr name="Blau-Verlauf 3">
      <a:srgbClr val="006FB9"/>
    </a:custClr>
    <a:custClr name="Rot-Verlauf 3">
      <a:srgbClr val="E63C14"/>
    </a:custClr>
    <a:custClr name="Gelb-Verlauf 3">
      <a:srgbClr val="FFF05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Lidl_Update_Folienbibliothek.potx" id="{FE4A25DF-5687-4213-A1DA-E1BA10981612}" vid="{5DED7764-AF17-4E65-9BA6-B76BDB2E8896}"/>
    </a:ext>
  </a:extLst>
</a:theme>
</file>

<file path=ppt/theme/theme3.xml><?xml version="1.0" encoding="utf-8"?>
<a:theme xmlns:a="http://schemas.openxmlformats.org/drawingml/2006/main" name="Office">
  <a:themeElements>
    <a:clrScheme name="Lidl">
      <a:dk1>
        <a:srgbClr val="0050AA"/>
      </a:dk1>
      <a:lt1>
        <a:sysClr val="window" lastClr="FFFFFF"/>
      </a:lt1>
      <a:dk2>
        <a:srgbClr val="E60A14"/>
      </a:dk2>
      <a:lt2>
        <a:srgbClr val="FFF000"/>
      </a:lt2>
      <a:accent1>
        <a:srgbClr val="3E7D9A"/>
      </a:accent1>
      <a:accent2>
        <a:srgbClr val="DFAB00"/>
      </a:accent2>
      <a:accent3>
        <a:srgbClr val="8A8197"/>
      </a:accent3>
      <a:accent4>
        <a:srgbClr val="61AF88"/>
      </a:accent4>
      <a:accent5>
        <a:srgbClr val="D76687"/>
      </a:accent5>
      <a:accent6>
        <a:srgbClr val="EBE5D1"/>
      </a:accent6>
      <a:hlink>
        <a:srgbClr val="0050AA"/>
      </a:hlink>
      <a:folHlink>
        <a:srgbClr val="0050AA"/>
      </a:folHlink>
    </a:clrScheme>
    <a:fontScheme name="Lidl">
      <a:majorFont>
        <a:latin typeface="Lidl Font Pro Semibold"/>
        <a:ea typeface=""/>
        <a:cs typeface=""/>
      </a:majorFont>
      <a:minorFont>
        <a:latin typeface="Lidl Fo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Lidl">
      <a:dk1>
        <a:srgbClr val="0050AA"/>
      </a:dk1>
      <a:lt1>
        <a:sysClr val="window" lastClr="FFFFFF"/>
      </a:lt1>
      <a:dk2>
        <a:srgbClr val="E60A14"/>
      </a:dk2>
      <a:lt2>
        <a:srgbClr val="FFF000"/>
      </a:lt2>
      <a:accent1>
        <a:srgbClr val="3E7D9A"/>
      </a:accent1>
      <a:accent2>
        <a:srgbClr val="DFAB00"/>
      </a:accent2>
      <a:accent3>
        <a:srgbClr val="8A8197"/>
      </a:accent3>
      <a:accent4>
        <a:srgbClr val="61AF88"/>
      </a:accent4>
      <a:accent5>
        <a:srgbClr val="D76687"/>
      </a:accent5>
      <a:accent6>
        <a:srgbClr val="EBE5D1"/>
      </a:accent6>
      <a:hlink>
        <a:srgbClr val="0050AA"/>
      </a:hlink>
      <a:folHlink>
        <a:srgbClr val="0050AA"/>
      </a:folHlink>
    </a:clrScheme>
    <a:fontScheme name="Lidl">
      <a:majorFont>
        <a:latin typeface="Lidl Font Pro Semibold"/>
        <a:ea typeface=""/>
        <a:cs typeface=""/>
      </a:majorFont>
      <a:minorFont>
        <a:latin typeface="Lidl Fo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abc9f80-7689-4bd0-9bc3-cc112d9ac978" xsi:nil="true"/>
    <lcf76f155ced4ddcb4097134ff3c332f xmlns="a12ba69c-e01f-4d8c-b8f4-b81892a14eee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8F9E7A18B82544BC53923766A06DDF" ma:contentTypeVersion="15" ma:contentTypeDescription="Create a new document." ma:contentTypeScope="" ma:versionID="dfb084ece7f5cfc0bca6a2db316ec705">
  <xsd:schema xmlns:xsd="http://www.w3.org/2001/XMLSchema" xmlns:xs="http://www.w3.org/2001/XMLSchema" xmlns:p="http://schemas.microsoft.com/office/2006/metadata/properties" xmlns:ns2="babc9f80-7689-4bd0-9bc3-cc112d9ac978" xmlns:ns3="a12ba69c-e01f-4d8c-b8f4-b81892a14eee" targetNamespace="http://schemas.microsoft.com/office/2006/metadata/properties" ma:root="true" ma:fieldsID="07f4fb495b54f1619d7f7f60e483ae45" ns2:_="" ns3:_="">
    <xsd:import namespace="babc9f80-7689-4bd0-9bc3-cc112d9ac978"/>
    <xsd:import namespace="a12ba69c-e01f-4d8c-b8f4-b81892a14ee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bc9f80-7689-4bd0-9bc3-cc112d9ac97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169fe497-da5b-42fd-86cc-9eeccab15bb4}" ma:internalName="TaxCatchAll" ma:showField="CatchAllData" ma:web="babc9f80-7689-4bd0-9bc3-cc112d9ac97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2ba69c-e01f-4d8c-b8f4-b81892a14e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ced8bdf-74b4-4497-a9f3-2b6de1ad22b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3BD10E-A445-4B79-8425-7E6BC305B712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dcmitype/"/>
    <ds:schemaRef ds:uri="http://purl.org/dc/terms/"/>
    <ds:schemaRef ds:uri="http://schemas.microsoft.com/office/infopath/2007/PartnerControls"/>
    <ds:schemaRef ds:uri="6969d4bc-3486-4c04-8320-214da6ae0af2"/>
    <ds:schemaRef ds:uri="4f1811b6-68bc-47cd-b967-a76751f646e3"/>
    <ds:schemaRef ds:uri="http://www.w3.org/XML/1998/namespace"/>
    <ds:schemaRef ds:uri="babc9f80-7689-4bd0-9bc3-cc112d9ac978"/>
    <ds:schemaRef ds:uri="a12ba69c-e01f-4d8c-b8f4-b81892a14eee"/>
  </ds:schemaRefs>
</ds:datastoreItem>
</file>

<file path=customXml/itemProps2.xml><?xml version="1.0" encoding="utf-8"?>
<ds:datastoreItem xmlns:ds="http://schemas.openxmlformats.org/officeDocument/2006/customXml" ds:itemID="{41E20221-13A7-4721-A09B-C11BA38106B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8904252-1DC3-482E-9B20-CA0E78E769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abc9f80-7689-4bd0-9bc3-cc112d9ac978"/>
    <ds:schemaRef ds:uri="a12ba69c-e01f-4d8c-b8f4-b81892a14ee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60b37cb2-a399-4c31-a85a-411fc8b623d3}" enabled="1" method="Standard" siteId="{d04f4717-5a6e-4b98-b3f9-6918e0385f4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Masterslide_NL</Template>
  <TotalTime>307</TotalTime>
  <Words>353</Words>
  <Application>Microsoft Office PowerPoint</Application>
  <PresentationFormat>Widescreen</PresentationFormat>
  <Paragraphs>104</Paragraphs>
  <Slides>11</Slides>
  <Notes>7</Notes>
  <HiddenSlides>0</HiddenSlides>
  <MMClips>3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Courier New</vt:lpstr>
      <vt:lpstr>Lidl Font Cond Pro</vt:lpstr>
      <vt:lpstr>Lidl Font Pro</vt:lpstr>
      <vt:lpstr>Verdana</vt:lpstr>
      <vt:lpstr>Lidl Master</vt:lpstr>
      <vt:lpstr>Brand-BBDO</vt:lpstr>
      <vt:lpstr>think-cell Slide</vt:lpstr>
      <vt:lpstr>think-cell Folie</vt:lpstr>
      <vt:lpstr>Transforming Lidl’s advertising strategy with data-based dynamic creative optimization</vt:lpstr>
      <vt:lpstr>Recap marketing goals</vt:lpstr>
      <vt:lpstr>Non-food DCO approach</vt:lpstr>
      <vt:lpstr>Marketing stack to succeed</vt:lpstr>
      <vt:lpstr>Using and combining multiple data sources</vt:lpstr>
      <vt:lpstr>Smart dynamic banners: Built to react </vt:lpstr>
      <vt:lpstr>Smart dynamic banners: Built to react </vt:lpstr>
      <vt:lpstr>Smart dynamic banners: Built to react </vt:lpstr>
      <vt:lpstr>PowerPoint Presentation</vt:lpstr>
      <vt:lpstr>Award-winning impact, proven by dat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slide titel</dc:title>
  <dc:creator>Jessica Gevaert</dc:creator>
  <dc:description>Optimiert für Office 2016</dc:description>
  <cp:lastModifiedBy>Denis Huygens</cp:lastModifiedBy>
  <cp:revision>82</cp:revision>
  <dcterms:created xsi:type="dcterms:W3CDTF">2025-01-15T10:05:23Z</dcterms:created>
  <dcterms:modified xsi:type="dcterms:W3CDTF">2025-05-13T13:2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8F9E7A18B82544BC53923766A06DDF</vt:lpwstr>
  </property>
  <property fmtid="{D5CDD505-2E9C-101B-9397-08002B2CF9AE}" pid="3" name="MediaServiceImageTags">
    <vt:lpwstr/>
  </property>
</Properties>
</file>